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2.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charts/chart1.xml" ContentType="application/vnd.openxmlformats-officedocument.drawingml.chart+xml"/>
  <Override PartName="/ppt/tags/tag15.xml" ContentType="application/vnd.openxmlformats-officedocument.presentationml.tags+xml"/>
  <Override PartName="/ppt/tags/tag16.xml" ContentType="application/vnd.openxmlformats-officedocument.presentationml.tags+xml"/>
  <Override PartName="/ppt/charts/chart2.xml" ContentType="application/vnd.openxmlformats-officedocument.drawingml.chart+xml"/>
  <Override PartName="/ppt/charts/chart3.xml" ContentType="application/vnd.openxmlformats-officedocument.drawingml.chart+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charts/chart4.xml" ContentType="application/vnd.openxmlformats-officedocument.drawingml.chart+xml"/>
  <Override PartName="/ppt/tags/tag23.xml" ContentType="application/vnd.openxmlformats-officedocument.presentationml.tags+xml"/>
  <Override PartName="/ppt/tags/tag24.xml" ContentType="application/vnd.openxmlformats-officedocument.presentationml.tags+xml"/>
  <Override PartName="/ppt/charts/chart5.xml" ContentType="application/vnd.openxmlformats-officedocument.drawingml.chart+xml"/>
  <Override PartName="/ppt/charts/chart6.xml" ContentType="application/vnd.openxmlformats-officedocument.drawingml.chart+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3.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4.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p:sldMasterIdLst>
    <p:sldMasterId id="2147483648" r:id="rId1"/>
  </p:sldMasterIdLst>
  <p:notesMasterIdLst>
    <p:notesMasterId r:id="rId28"/>
  </p:notesMasterIdLst>
  <p:handoutMasterIdLst>
    <p:handoutMasterId r:id="rId29"/>
  </p:handoutMasterIdLst>
  <p:sldIdLst>
    <p:sldId id="2147482576" r:id="rId2"/>
    <p:sldId id="2147482298" r:id="rId3"/>
    <p:sldId id="2147482555" r:id="rId4"/>
    <p:sldId id="2147482563" r:id="rId5"/>
    <p:sldId id="2147482573" r:id="rId6"/>
    <p:sldId id="3666" r:id="rId7"/>
    <p:sldId id="2147481829" r:id="rId8"/>
    <p:sldId id="3668" r:id="rId9"/>
    <p:sldId id="2147482485" r:id="rId10"/>
    <p:sldId id="2147482564" r:id="rId11"/>
    <p:sldId id="2147482574" r:id="rId12"/>
    <p:sldId id="2147482575" r:id="rId13"/>
    <p:sldId id="3758" r:id="rId14"/>
    <p:sldId id="2147482483" r:id="rId15"/>
    <p:sldId id="17722" r:id="rId16"/>
    <p:sldId id="2147482484" r:id="rId17"/>
    <p:sldId id="17709" r:id="rId18"/>
    <p:sldId id="2147482577" r:id="rId19"/>
    <p:sldId id="2147482571" r:id="rId20"/>
    <p:sldId id="2147482569" r:id="rId21"/>
    <p:sldId id="2147482570" r:id="rId22"/>
    <p:sldId id="2147482567" r:id="rId23"/>
    <p:sldId id="2147482568" r:id="rId24"/>
    <p:sldId id="2147482480" r:id="rId25"/>
    <p:sldId id="17741" r:id="rId26"/>
    <p:sldId id="261" r:id="rId27"/>
  </p:sldIdLst>
  <p:sldSz cx="12192000" cy="6858000"/>
  <p:notesSz cx="6724650" cy="9774238"/>
  <p:embeddedFontLst>
    <p:embeddedFont>
      <p:font typeface="DFDS Bold" panose="00000800000000000000" pitchFamily="2" charset="0"/>
      <p:bold r:id="rId30"/>
    </p:embeddedFont>
    <p:embeddedFont>
      <p:font typeface="DFDS Light" panose="00000400000000000000" pitchFamily="2" charset="0"/>
      <p:regular r:id="rId31"/>
    </p:embeddedFont>
    <p:embeddedFont>
      <p:font typeface="DFDS Sans" panose="00000500000000000000" pitchFamily="2" charset="0"/>
      <p:regular r:id="rId32"/>
      <p:bold r:id="rId33"/>
      <p:italic r:id="rId34"/>
      <p:boldItalic r:id="rId35"/>
    </p:embeddedFont>
    <p:embeddedFont>
      <p:font typeface="DFDS Sans Medium" panose="00000600000000000000" pitchFamily="2" charset="0"/>
      <p:regular r:id="rId36"/>
      <p:bold r:id="rId37"/>
      <p:italic r:id="rId38"/>
    </p:embeddedFont>
    <p:embeddedFont>
      <p:font typeface="DFDS Sans Offc" panose="00000500000000000000" pitchFamily="2" charset="0"/>
      <p:regular r:id="rId39"/>
      <p:bold r:id="rId40"/>
      <p:italic r:id="rId41"/>
      <p:boldItalic r:id="rId42"/>
    </p:embeddedFont>
  </p:embeddedFontLst>
  <p:custDataLst>
    <p:tags r:id="rId4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BE1331C-284D-2316-818D-103E1624CF95}" name="Nina Roepstorff" initials="NR" userId="S::niroe@dfds.com::38d729b2-76b6-4518-95c7-cedb8287524c" providerId="AD"/>
  <p188:author id="{C57C8839-13D4-7D6C-BDD3-3E05F4DF8733}" name="Torben Carlsen" initials="TC" userId="S::tcar@dfds.com::d57228e6-b83c-45f0-b8fc-0585110e34d4" providerId="AD"/>
  <p188:author id="{66D3EA58-549D-1374-9A8D-28A7DBFF708A}" name="Torben Carlsen" initials="" userId="S::tcar@DFDS.COM::d57228e6-b83c-45f0-b8fc-0585110e34d4"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Torben Carlsen" initials="TC" lastIdx="2" clrIdx="0">
    <p:extLst>
      <p:ext uri="{19B8F6BF-5375-455C-9EA6-DF929625EA0E}">
        <p15:presenceInfo xmlns:p15="http://schemas.microsoft.com/office/powerpoint/2012/main" userId="S::tcar@DFDS.COM::d57228e6-b83c-45f0-b8fc-0585110e34d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DDDDD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69012ECD-51FC-41F1-AA8D-1B2483CD663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5994" autoAdjust="0"/>
    <p:restoredTop sz="94680" autoAdjust="0"/>
  </p:normalViewPr>
  <p:slideViewPr>
    <p:cSldViewPr snapToGrid="0" showGuides="1">
      <p:cViewPr>
        <p:scale>
          <a:sx n="130" d="100"/>
          <a:sy n="130" d="100"/>
        </p:scale>
        <p:origin x="894" y="624"/>
      </p:cViewPr>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00" d="100"/>
        <a:sy n="100" d="100"/>
      </p:scale>
      <p:origin x="0" y="0"/>
    </p:cViewPr>
  </p:sorterViewPr>
  <p:notesViewPr>
    <p:cSldViewPr snapToGrid="0" showGuides="1">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font" Target="fonts/font10.fntdata"/><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font" Target="fonts/font5.fntdata"/><Relationship Id="rId42" Type="http://schemas.openxmlformats.org/officeDocument/2006/relationships/font" Target="fonts/font13.fntdata"/><Relationship Id="rId47"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font" Target="fonts/font4.fntdata"/><Relationship Id="rId38" Type="http://schemas.openxmlformats.org/officeDocument/2006/relationships/font" Target="fonts/font9.fntdata"/><Relationship Id="rId46"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handoutMaster" Target="handoutMasters/handoutMaster1.xml"/><Relationship Id="rId41" Type="http://schemas.openxmlformats.org/officeDocument/2006/relationships/font" Target="fonts/font12.fntdata"/><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font" Target="fonts/font3.fntdata"/><Relationship Id="rId37" Type="http://schemas.openxmlformats.org/officeDocument/2006/relationships/font" Target="fonts/font8.fntdata"/><Relationship Id="rId40" Type="http://schemas.openxmlformats.org/officeDocument/2006/relationships/font" Target="fonts/font11.fntdata"/><Relationship Id="rId45"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notesMaster" Target="notesMasters/notesMaster1.xml"/><Relationship Id="rId36" Type="http://schemas.openxmlformats.org/officeDocument/2006/relationships/font" Target="fonts/font7.fntdata"/><Relationship Id="rId49" Type="http://schemas.microsoft.com/office/2018/10/relationships/authors" Target="author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font" Target="fonts/font2.fntdata"/><Relationship Id="rId44"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font" Target="fonts/font1.fntdata"/><Relationship Id="rId35" Type="http://schemas.openxmlformats.org/officeDocument/2006/relationships/font" Target="fonts/font6.fntdata"/><Relationship Id="rId43" Type="http://schemas.openxmlformats.org/officeDocument/2006/relationships/tags" Target="tags/tag1.xml"/><Relationship Id="rId48" Type="http://schemas.openxmlformats.org/officeDocument/2006/relationships/tableStyles" Target="tableStyles.xml"/><Relationship Id="rId8" Type="http://schemas.openxmlformats.org/officeDocument/2006/relationships/slide" Target="slides/slide7.xml"/></Relationships>
</file>

<file path=ppt/charts/_rels/chart1.xml.rels><?xml version="1.0" encoding="UTF-8" standalone="yes"?>
<Relationships xmlns="http://schemas.openxmlformats.org/package/2006/relationships"><Relationship Id="rId1" Type="http://schemas.openxmlformats.org/officeDocument/2006/relationships/oleObject" Target="file:///\\dk.dfds.root\DFS\Departments\Finance\PREGNSKAB\2024\Q4\Board\PLBS%202024%20DFDS%20ex%20impair%20v8.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dk.dfds.root\DFS\Departments\Finance\PREGNSKAB\2024\Q4\Board\ebit%20graf%20bar%20q4%2024.xlsx"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file:///\\dk.dfds.root\DFS\Departments\Finance\PREGNSKAB\2024\Q4\Board\PLBS%202024%20DFDS%20ex%20impair%20v7.xlsx" TargetMode="External"/></Relationships>
</file>

<file path=ppt/charts/_rels/chart4.xml.rels><?xml version="1.0" encoding="UTF-8" standalone="yes"?>
<Relationships xmlns="http://schemas.openxmlformats.org/package/2006/relationships"><Relationship Id="rId1" Type="http://schemas.openxmlformats.org/officeDocument/2006/relationships/oleObject" Target="file:///\\dk.dfds.root\DFS\Departments\Finance\PREGNSKAB\2024\Q4\Board\PLBS%202024%20DFDS%20ex%20impair%20v8.xlsx" TargetMode="External"/></Relationships>
</file>

<file path=ppt/charts/_rels/chart5.xml.rels><?xml version="1.0" encoding="UTF-8" standalone="yes"?>
<Relationships xmlns="http://schemas.openxmlformats.org/package/2006/relationships"><Relationship Id="rId1" Type="http://schemas.openxmlformats.org/officeDocument/2006/relationships/oleObject" Target="file:///\\dk.dfds.root\DFS\Departments\Finance\PREGNSKAB\2024\Q4\Board\ebit%20graf%20bar%20q4%2024.xlsx" TargetMode="External"/></Relationships>
</file>

<file path=ppt/charts/_rels/chart6.xml.rels><?xml version="1.0" encoding="UTF-8" standalone="yes"?>
<Relationships xmlns="http://schemas.openxmlformats.org/package/2006/relationships"><Relationship Id="rId1" Type="http://schemas.openxmlformats.org/officeDocument/2006/relationships/oleObject" Target="file:///\\dk.dfds.root\DFS\Departments\Finance\PREGNSKAB\2024\Q4\Board\PLBS%202024%20DFDS%20ex%20impair%20v8.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050" b="1"/>
            </a:pPr>
            <a:r>
              <a:rPr lang="da-DK" sz="1050" b="1"/>
              <a:t>Change in revenue, Q4 2024 vs Q4 2023</a:t>
            </a:r>
          </a:p>
        </c:rich>
      </c:tx>
      <c:overlay val="1"/>
    </c:title>
    <c:autoTitleDeleted val="0"/>
    <c:plotArea>
      <c:layout>
        <c:manualLayout>
          <c:layoutTarget val="inner"/>
          <c:xMode val="edge"/>
          <c:yMode val="edge"/>
          <c:x val="6.832759877865377E-2"/>
          <c:y val="0.16130874676844259"/>
          <c:w val="0.89935628674292489"/>
          <c:h val="0.72528377395782961"/>
        </c:manualLayout>
      </c:layout>
      <c:barChart>
        <c:barDir val="col"/>
        <c:grouping val="stacked"/>
        <c:varyColors val="0"/>
        <c:ser>
          <c:idx val="0"/>
          <c:order val="0"/>
          <c:spPr>
            <a:noFill/>
          </c:spPr>
          <c:invertIfNegative val="0"/>
          <c:dPt>
            <c:idx val="0"/>
            <c:invertIfNegative val="0"/>
            <c:bubble3D val="0"/>
            <c:spPr>
              <a:solidFill>
                <a:srgbClr val="002060"/>
              </a:solidFill>
            </c:spPr>
            <c:extLst>
              <c:ext xmlns:c16="http://schemas.microsoft.com/office/drawing/2014/chart" uri="{C3380CC4-5D6E-409C-BE32-E72D297353CC}">
                <c16:uniqueId val="{00000001-9741-4609-89D3-B28118B46239}"/>
              </c:ext>
            </c:extLst>
          </c:dPt>
          <c:dPt>
            <c:idx val="3"/>
            <c:invertIfNegative val="0"/>
            <c:bubble3D val="0"/>
            <c:extLst>
              <c:ext xmlns:c16="http://schemas.microsoft.com/office/drawing/2014/chart" uri="{C3380CC4-5D6E-409C-BE32-E72D297353CC}">
                <c16:uniqueId val="{00000002-9741-4609-89D3-B28118B46239}"/>
              </c:ext>
            </c:extLst>
          </c:dPt>
          <c:dPt>
            <c:idx val="6"/>
            <c:invertIfNegative val="0"/>
            <c:bubble3D val="0"/>
            <c:spPr>
              <a:solidFill>
                <a:srgbClr val="002060"/>
              </a:solidFill>
            </c:spPr>
            <c:extLst>
              <c:ext xmlns:c16="http://schemas.microsoft.com/office/drawing/2014/chart" uri="{C3380CC4-5D6E-409C-BE32-E72D297353CC}">
                <c16:uniqueId val="{00000004-9741-4609-89D3-B28118B46239}"/>
              </c:ext>
            </c:extLst>
          </c:dPt>
          <c:dPt>
            <c:idx val="9"/>
            <c:invertIfNegative val="0"/>
            <c:bubble3D val="0"/>
            <c:spPr>
              <a:noFill/>
              <a:ln w="12700">
                <a:noFill/>
                <a:prstDash val="solid"/>
              </a:ln>
            </c:spPr>
            <c:extLst>
              <c:ext xmlns:c16="http://schemas.microsoft.com/office/drawing/2014/chart" uri="{C3380CC4-5D6E-409C-BE32-E72D297353CC}">
                <c16:uniqueId val="{00000006-9741-4609-89D3-B28118B46239}"/>
              </c:ext>
            </c:extLst>
          </c:dPt>
          <c:dPt>
            <c:idx val="10"/>
            <c:invertIfNegative val="0"/>
            <c:bubble3D val="0"/>
            <c:spPr>
              <a:noFill/>
              <a:ln w="12700">
                <a:noFill/>
                <a:prstDash val="solid"/>
              </a:ln>
            </c:spPr>
            <c:extLst>
              <c:ext xmlns:c16="http://schemas.microsoft.com/office/drawing/2014/chart" uri="{C3380CC4-5D6E-409C-BE32-E72D297353CC}">
                <c16:uniqueId val="{00000008-9741-4609-89D3-B28118B46239}"/>
              </c:ext>
            </c:extLst>
          </c:dPt>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741-4609-89D3-B28118B46239}"/>
                </c:ext>
              </c:extLst>
            </c:dLbl>
            <c:dLbl>
              <c:idx val="6"/>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741-4609-89D3-B28118B46239}"/>
                </c:ext>
              </c:extLst>
            </c:dLbl>
            <c:spPr>
              <a:noFill/>
              <a:ln>
                <a:noFill/>
              </a:ln>
              <a:effectLst/>
            </c:spPr>
            <c:txPr>
              <a:bodyPr wrap="square" lIns="38100" tIns="19050" rIns="38100" bIns="19050" anchor="ctr" anchorCtr="0">
                <a:spAutoFit/>
              </a:bodyPr>
              <a:lstStyle/>
              <a:p>
                <a:pPr algn="ctr" rtl="0">
                  <a:defRPr lang="en-US" sz="1400" b="1" i="0" u="none" strike="noStrike" kern="1200" baseline="0">
                    <a:solidFill>
                      <a:schemeClr val="bg1"/>
                    </a:solidFill>
                    <a:latin typeface="DFDS Sans Offc" panose="00000500000000000000" pitchFamily="2" charset="0"/>
                    <a:ea typeface="Arial"/>
                    <a:cs typeface="Arial"/>
                  </a:defRPr>
                </a:pPr>
                <a:endParaRPr lang="da-DK"/>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rev ext'!$P$10:$V$10</c:f>
              <c:strCache>
                <c:ptCount val="7"/>
                <c:pt idx="0">
                  <c:v>Q4 2023</c:v>
                </c:pt>
                <c:pt idx="1">
                  <c:v>Freight ferry</c:v>
                </c:pt>
                <c:pt idx="2">
                  <c:v>Passenger</c:v>
                </c:pt>
                <c:pt idx="3">
                  <c:v>Logistics</c:v>
                </c:pt>
                <c:pt idx="4">
                  <c:v>Acquisitions, net</c:v>
                </c:pt>
                <c:pt idx="5">
                  <c:v>Other</c:v>
                </c:pt>
                <c:pt idx="6">
                  <c:v>Q4 2024</c:v>
                </c:pt>
              </c:strCache>
            </c:strRef>
          </c:cat>
          <c:val>
            <c:numRef>
              <c:f>'rev ext'!$P$11:$V$11</c:f>
              <c:numCache>
                <c:formatCode>0.0</c:formatCode>
                <c:ptCount val="7"/>
                <c:pt idx="0" formatCode="#,##0">
                  <c:v>6832.0695096799</c:v>
                </c:pt>
                <c:pt idx="1">
                  <c:v>6584.0773323316098</c:v>
                </c:pt>
                <c:pt idx="2">
                  <c:v>6584.0773323316098</c:v>
                </c:pt>
                <c:pt idx="3">
                  <c:v>6639.9068907705096</c:v>
                </c:pt>
                <c:pt idx="4">
                  <c:v>6786.8883519477095</c:v>
                </c:pt>
                <c:pt idx="5">
                  <c:v>7196.2808934880086</c:v>
                </c:pt>
                <c:pt idx="6" formatCode="#,##0">
                  <c:v>7196.2813544907003</c:v>
                </c:pt>
              </c:numCache>
            </c:numRef>
          </c:val>
          <c:extLst>
            <c:ext xmlns:c16="http://schemas.microsoft.com/office/drawing/2014/chart" uri="{C3380CC4-5D6E-409C-BE32-E72D297353CC}">
              <c16:uniqueId val="{00000009-9741-4609-89D3-B28118B46239}"/>
            </c:ext>
          </c:extLst>
        </c:ser>
        <c:ser>
          <c:idx val="1"/>
          <c:order val="1"/>
          <c:invertIfNegative val="0"/>
          <c:dPt>
            <c:idx val="1"/>
            <c:invertIfNegative val="0"/>
            <c:bubble3D val="0"/>
            <c:spPr>
              <a:solidFill>
                <a:schemeClr val="accent5">
                  <a:lumMod val="90000"/>
                </a:schemeClr>
              </a:solidFill>
            </c:spPr>
            <c:extLst>
              <c:ext xmlns:c16="http://schemas.microsoft.com/office/drawing/2014/chart" uri="{C3380CC4-5D6E-409C-BE32-E72D297353CC}">
                <c16:uniqueId val="{0000000B-9741-4609-89D3-B28118B46239}"/>
              </c:ext>
            </c:extLst>
          </c:dPt>
          <c:dPt>
            <c:idx val="9"/>
            <c:invertIfNegative val="0"/>
            <c:bubble3D val="0"/>
            <c:extLst>
              <c:ext xmlns:c16="http://schemas.microsoft.com/office/drawing/2014/chart" uri="{C3380CC4-5D6E-409C-BE32-E72D297353CC}">
                <c16:uniqueId val="{0000000A-9741-4609-89D3-B28118B46239}"/>
              </c:ext>
            </c:extLst>
          </c:dPt>
          <c:dLbls>
            <c:dLbl>
              <c:idx val="1"/>
              <c:tx>
                <c:rich>
                  <a:bodyPr/>
                  <a:lstStyle/>
                  <a:p>
                    <a:r>
                      <a:rPr lang="en-US"/>
                      <a:t>-</a:t>
                    </a:r>
                    <a:fld id="{E9C1CB66-B9B0-4F80-82A2-F9D7F248F4F3}" type="VALUE">
                      <a:rPr lang="en-US"/>
                      <a:pPr/>
                      <a:t>[VALUE]</a:t>
                    </a:fld>
                    <a:endParaRPr 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B-9741-4609-89D3-B28118B46239}"/>
                </c:ext>
              </c:extLst>
            </c:dLbl>
            <c:dLbl>
              <c:idx val="2"/>
              <c:tx>
                <c:rich>
                  <a:bodyPr/>
                  <a:lstStyle/>
                  <a:p>
                    <a:fld id="{B56D1863-4F20-4BAD-B690-7214E75DA6BC}" type="VALUE">
                      <a:rPr lang="en-US"/>
                      <a:pPr/>
                      <a:t>[VALUE]</a:t>
                    </a:fld>
                    <a:endParaRPr lang="da-DK"/>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C-9741-4609-89D3-B28118B46239}"/>
                </c:ext>
              </c:extLst>
            </c:dLbl>
            <c:dLbl>
              <c:idx val="5"/>
              <c:tx>
                <c:rich>
                  <a:bodyPr/>
                  <a:lstStyle/>
                  <a:p>
                    <a:r>
                      <a:rPr lang="en-US"/>
                      <a:t>-</a:t>
                    </a:r>
                    <a:fld id="{7C28B835-F262-419F-A1C5-709922A672A7}" type="VALUE">
                      <a:rPr lang="en-US"/>
                      <a:pPr/>
                      <a:t>[VALUE]</a:t>
                    </a:fld>
                    <a:endParaRPr 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D-9741-4609-89D3-B28118B46239}"/>
                </c:ext>
              </c:extLst>
            </c:dLbl>
            <c:dLbl>
              <c:idx val="9"/>
              <c:tx>
                <c:rich>
                  <a:bodyPr/>
                  <a:lstStyle/>
                  <a:p>
                    <a:r>
                      <a:rPr lang="en-US"/>
                      <a:t>-</a:t>
                    </a:r>
                    <a:fld id="{CBB10778-A708-42C5-8EC0-EF642D1EDCC7}" type="VALUE">
                      <a:rPr lang="en-US"/>
                      <a:pPr/>
                      <a:t>[VALUE]</a:t>
                    </a:fld>
                    <a:endParaRPr 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A-9741-4609-89D3-B28118B46239}"/>
                </c:ext>
              </c:extLst>
            </c:dLbl>
            <c:spPr>
              <a:noFill/>
              <a:ln>
                <a:noFill/>
              </a:ln>
              <a:effectLst/>
            </c:spPr>
            <c:txPr>
              <a:bodyPr/>
              <a:lstStyle/>
              <a:p>
                <a:pPr algn="ctr" rtl="0">
                  <a:defRPr sz="1400" b="1">
                    <a:solidFill>
                      <a:schemeClr val="bg1"/>
                    </a:solidFill>
                  </a:defRPr>
                </a:pPr>
                <a:endParaRPr lang="da-DK"/>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rev ext'!$P$10:$V$10</c:f>
              <c:strCache>
                <c:ptCount val="7"/>
                <c:pt idx="0">
                  <c:v>Q4 2023</c:v>
                </c:pt>
                <c:pt idx="1">
                  <c:v>Freight ferry</c:v>
                </c:pt>
                <c:pt idx="2">
                  <c:v>Passenger</c:v>
                </c:pt>
                <c:pt idx="3">
                  <c:v>Logistics</c:v>
                </c:pt>
                <c:pt idx="4">
                  <c:v>Acquisitions, net</c:v>
                </c:pt>
                <c:pt idx="5">
                  <c:v>Other</c:v>
                </c:pt>
                <c:pt idx="6">
                  <c:v>Q4 2024</c:v>
                </c:pt>
              </c:strCache>
            </c:strRef>
          </c:cat>
          <c:val>
            <c:numRef>
              <c:f>'rev ext'!$P$12:$V$12</c:f>
              <c:numCache>
                <c:formatCode>0</c:formatCode>
                <c:ptCount val="7"/>
                <c:pt idx="1">
                  <c:v>247.99217734829011</c:v>
                </c:pt>
                <c:pt idx="2">
                  <c:v>55.829558438899994</c:v>
                </c:pt>
                <c:pt idx="3">
                  <c:v>146.98146117720009</c:v>
                </c:pt>
                <c:pt idx="4">
                  <c:v>509.17277273180002</c:v>
                </c:pt>
                <c:pt idx="5">
                  <c:v>99.780231191500732</c:v>
                </c:pt>
              </c:numCache>
            </c:numRef>
          </c:val>
          <c:extLst>
            <c:ext xmlns:c16="http://schemas.microsoft.com/office/drawing/2014/chart" uri="{C3380CC4-5D6E-409C-BE32-E72D297353CC}">
              <c16:uniqueId val="{0000000E-9741-4609-89D3-B28118B46239}"/>
            </c:ext>
          </c:extLst>
        </c:ser>
        <c:dLbls>
          <c:showLegendKey val="0"/>
          <c:showVal val="1"/>
          <c:showCatName val="0"/>
          <c:showSerName val="0"/>
          <c:showPercent val="0"/>
          <c:showBubbleSize val="0"/>
        </c:dLbls>
        <c:gapWidth val="4"/>
        <c:overlap val="100"/>
        <c:axId val="527134856"/>
        <c:axId val="527135248"/>
      </c:barChart>
      <c:catAx>
        <c:axId val="527134856"/>
        <c:scaling>
          <c:orientation val="minMax"/>
        </c:scaling>
        <c:delete val="0"/>
        <c:axPos val="b"/>
        <c:numFmt formatCode="General" sourceLinked="1"/>
        <c:majorTickMark val="out"/>
        <c:minorTickMark val="none"/>
        <c:tickLblPos val="low"/>
        <c:spPr>
          <a:ln w="3175">
            <a:solidFill>
              <a:srgbClr val="000000"/>
            </a:solidFill>
            <a:prstDash val="solid"/>
          </a:ln>
        </c:spPr>
        <c:txPr>
          <a:bodyPr rot="0" vert="horz"/>
          <a:lstStyle/>
          <a:p>
            <a:pPr>
              <a:defRPr/>
            </a:pPr>
            <a:endParaRPr lang="da-DK"/>
          </a:p>
        </c:txPr>
        <c:crossAx val="527135248"/>
        <c:crosses val="autoZero"/>
        <c:auto val="1"/>
        <c:lblAlgn val="ctr"/>
        <c:lblOffset val="100"/>
        <c:tickLblSkip val="1"/>
        <c:tickMarkSkip val="1"/>
        <c:noMultiLvlLbl val="0"/>
      </c:catAx>
      <c:valAx>
        <c:axId val="527135248"/>
        <c:scaling>
          <c:orientation val="minMax"/>
          <c:max val="7500"/>
          <c:min val="6500"/>
        </c:scaling>
        <c:delete val="0"/>
        <c:axPos val="l"/>
        <c:majorGridlines>
          <c:spPr>
            <a:ln w="3175">
              <a:noFill/>
              <a:prstDash val="solid"/>
            </a:ln>
          </c:spPr>
        </c:majorGridlines>
        <c:title>
          <c:tx>
            <c:rich>
              <a:bodyPr rot="0" vert="horz"/>
              <a:lstStyle/>
              <a:p>
                <a:pPr>
                  <a:defRPr/>
                </a:pPr>
                <a:r>
                  <a:rPr lang="da-DK"/>
                  <a:t>DKK m</a:t>
                </a:r>
              </a:p>
            </c:rich>
          </c:tx>
          <c:layout>
            <c:manualLayout>
              <c:xMode val="edge"/>
              <c:yMode val="edge"/>
              <c:x val="1.5616455133755642E-2"/>
              <c:y val="8.551013194959696E-2"/>
            </c:manualLayout>
          </c:layout>
          <c:overlay val="0"/>
          <c:spPr>
            <a:noFill/>
            <a:ln w="25400">
              <a:noFill/>
            </a:ln>
          </c:spPr>
        </c:title>
        <c:numFmt formatCode="#,##0" sourceLinked="0"/>
        <c:majorTickMark val="out"/>
        <c:minorTickMark val="none"/>
        <c:tickLblPos val="nextTo"/>
        <c:spPr>
          <a:ln w="9525">
            <a:noFill/>
          </a:ln>
        </c:spPr>
        <c:txPr>
          <a:bodyPr rot="0" vert="horz"/>
          <a:lstStyle/>
          <a:p>
            <a:pPr>
              <a:defRPr/>
            </a:pPr>
            <a:endParaRPr lang="da-DK"/>
          </a:p>
        </c:txPr>
        <c:crossAx val="527134856"/>
        <c:crosses val="autoZero"/>
        <c:crossBetween val="between"/>
        <c:majorUnit val="250"/>
        <c:minorUnit val="5"/>
      </c:valAx>
      <c:spPr>
        <a:noFill/>
        <a:ln w="25400">
          <a:noFill/>
        </a:ln>
      </c:spPr>
    </c:plotArea>
    <c:plotVisOnly val="1"/>
    <c:dispBlanksAs val="gap"/>
    <c:showDLblsOverMax val="0"/>
  </c:chart>
  <c:spPr>
    <a:noFill/>
    <a:ln w="9525">
      <a:noFill/>
    </a:ln>
  </c:spPr>
  <c:txPr>
    <a:bodyPr/>
    <a:lstStyle/>
    <a:p>
      <a:pPr>
        <a:defRPr sz="800" b="0" i="0" u="none" strike="noStrike" baseline="0">
          <a:solidFill>
            <a:srgbClr val="000000"/>
          </a:solidFill>
          <a:latin typeface="DFDS Sans Offc" panose="00000500000000000000" pitchFamily="2" charset="0"/>
          <a:ea typeface="Arial"/>
          <a:cs typeface="Arial"/>
        </a:defRPr>
      </a:pPr>
      <a:endParaRPr lang="da-DK"/>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050" b="1"/>
            </a:pPr>
            <a:r>
              <a:rPr lang="da-DK" sz="1050" b="1"/>
              <a:t>DFDS Group - Q4 EBIT</a:t>
            </a:r>
          </a:p>
        </c:rich>
      </c:tx>
      <c:layout>
        <c:manualLayout>
          <c:xMode val="edge"/>
          <c:yMode val="edge"/>
          <c:x val="0.35151419351219576"/>
          <c:y val="2.9598901689696176E-2"/>
        </c:manualLayout>
      </c:layout>
      <c:overlay val="0"/>
      <c:spPr>
        <a:noFill/>
        <a:ln w="25400">
          <a:noFill/>
        </a:ln>
      </c:spPr>
    </c:title>
    <c:autoTitleDeleted val="0"/>
    <c:plotArea>
      <c:layout>
        <c:manualLayout>
          <c:layoutTarget val="inner"/>
          <c:xMode val="edge"/>
          <c:yMode val="edge"/>
          <c:x val="8.2636946226029073E-2"/>
          <c:y val="0.17216178801005888"/>
          <c:w val="0.86967707960534124"/>
          <c:h val="0.7069622358710933"/>
        </c:manualLayout>
      </c:layout>
      <c:barChart>
        <c:barDir val="bar"/>
        <c:grouping val="clustered"/>
        <c:varyColors val="0"/>
        <c:ser>
          <c:idx val="1"/>
          <c:order val="0"/>
          <c:tx>
            <c:strRef>
              <c:f>'EBIT Group bar q1'!$A$6</c:f>
              <c:strCache>
                <c:ptCount val="1"/>
                <c:pt idx="0">
                  <c:v>DFDS Koncernen</c:v>
                </c:pt>
              </c:strCache>
            </c:strRef>
          </c:tx>
          <c:spPr>
            <a:solidFill>
              <a:schemeClr val="accent3"/>
            </a:solidFill>
            <a:ln w="25400">
              <a:noFill/>
            </a:ln>
          </c:spPr>
          <c:invertIfNegative val="0"/>
          <c:dPt>
            <c:idx val="4"/>
            <c:invertIfNegative val="0"/>
            <c:bubble3D val="0"/>
            <c:spPr>
              <a:solidFill>
                <a:schemeClr val="accent1"/>
              </a:solidFill>
              <a:ln w="25400">
                <a:noFill/>
              </a:ln>
            </c:spPr>
            <c:extLst>
              <c:ext xmlns:c16="http://schemas.microsoft.com/office/drawing/2014/chart" uri="{C3380CC4-5D6E-409C-BE32-E72D297353CC}">
                <c16:uniqueId val="{00000001-9CE7-4CBD-AFF5-6B46C6D3D78B}"/>
              </c:ext>
            </c:extLst>
          </c:dPt>
          <c:dLbls>
            <c:spPr>
              <a:noFill/>
              <a:ln>
                <a:noFill/>
              </a:ln>
              <a:effectLst/>
            </c:spPr>
            <c:txPr>
              <a:bodyPr/>
              <a:lstStyle/>
              <a:p>
                <a:pPr>
                  <a:defRPr sz="1000" b="1">
                    <a:solidFill>
                      <a:sysClr val="windowText" lastClr="000000"/>
                    </a:solidFill>
                  </a:defRPr>
                </a:pPr>
                <a:endParaRPr lang="da-DK"/>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EBIT Group bar q1'!$K$5:$O$5</c:f>
              <c:numCache>
                <c:formatCode>General</c:formatCode>
                <c:ptCount val="5"/>
                <c:pt idx="0">
                  <c:v>2020</c:v>
                </c:pt>
                <c:pt idx="1">
                  <c:v>2021</c:v>
                </c:pt>
                <c:pt idx="2">
                  <c:v>2022</c:v>
                </c:pt>
                <c:pt idx="3">
                  <c:v>2023</c:v>
                </c:pt>
                <c:pt idx="4">
                  <c:v>2024</c:v>
                </c:pt>
              </c:numCache>
            </c:numRef>
          </c:cat>
          <c:val>
            <c:numRef>
              <c:f>'EBIT Group bar q1'!$K$6:$O$6</c:f>
              <c:numCache>
                <c:formatCode>0</c:formatCode>
                <c:ptCount val="5"/>
                <c:pt idx="0">
                  <c:v>192</c:v>
                </c:pt>
                <c:pt idx="1">
                  <c:v>313</c:v>
                </c:pt>
                <c:pt idx="2" formatCode="#,##0">
                  <c:v>452</c:v>
                </c:pt>
                <c:pt idx="3" formatCode="#,##0">
                  <c:v>358.4</c:v>
                </c:pt>
                <c:pt idx="4" formatCode="#,##0">
                  <c:v>2.2000000000000002</c:v>
                </c:pt>
              </c:numCache>
            </c:numRef>
          </c:val>
          <c:extLst>
            <c:ext xmlns:c16="http://schemas.microsoft.com/office/drawing/2014/chart" uri="{C3380CC4-5D6E-409C-BE32-E72D297353CC}">
              <c16:uniqueId val="{00000002-9CE7-4CBD-AFF5-6B46C6D3D78B}"/>
            </c:ext>
          </c:extLst>
        </c:ser>
        <c:dLbls>
          <c:showLegendKey val="0"/>
          <c:showVal val="0"/>
          <c:showCatName val="0"/>
          <c:showSerName val="0"/>
          <c:showPercent val="0"/>
          <c:showBubbleSize val="0"/>
        </c:dLbls>
        <c:gapWidth val="76"/>
        <c:axId val="347676584"/>
        <c:axId val="347678544"/>
      </c:barChart>
      <c:catAx>
        <c:axId val="347676584"/>
        <c:scaling>
          <c:orientation val="minMax"/>
        </c:scaling>
        <c:delete val="0"/>
        <c:axPos val="l"/>
        <c:numFmt formatCode="General" sourceLinked="1"/>
        <c:majorTickMark val="none"/>
        <c:minorTickMark val="none"/>
        <c:tickLblPos val="nextTo"/>
        <c:spPr>
          <a:ln w="3175">
            <a:solidFill>
              <a:srgbClr val="000000"/>
            </a:solidFill>
            <a:prstDash val="solid"/>
          </a:ln>
        </c:spPr>
        <c:txPr>
          <a:bodyPr rot="0" vert="horz"/>
          <a:lstStyle/>
          <a:p>
            <a:pPr>
              <a:defRPr/>
            </a:pPr>
            <a:endParaRPr lang="da-DK"/>
          </a:p>
        </c:txPr>
        <c:crossAx val="347678544"/>
        <c:crosses val="autoZero"/>
        <c:auto val="1"/>
        <c:lblAlgn val="ctr"/>
        <c:lblOffset val="100"/>
        <c:noMultiLvlLbl val="0"/>
      </c:catAx>
      <c:valAx>
        <c:axId val="347678544"/>
        <c:scaling>
          <c:orientation val="minMax"/>
          <c:max val="500"/>
          <c:min val="0"/>
        </c:scaling>
        <c:delete val="0"/>
        <c:axPos val="b"/>
        <c:majorGridlines>
          <c:spPr>
            <a:ln w="3175">
              <a:solidFill>
                <a:srgbClr val="C0C0C0"/>
              </a:solidFill>
              <a:prstDash val="solid"/>
            </a:ln>
          </c:spPr>
        </c:majorGridlines>
        <c:title>
          <c:tx>
            <c:rich>
              <a:bodyPr rot="0" vert="horz"/>
              <a:lstStyle/>
              <a:p>
                <a:pPr algn="ctr">
                  <a:defRPr/>
                </a:pPr>
                <a:r>
                  <a:rPr lang="da-DK"/>
                  <a:t>DKK m</a:t>
                </a:r>
              </a:p>
            </c:rich>
          </c:tx>
          <c:layout>
            <c:manualLayout>
              <c:xMode val="edge"/>
              <c:yMode val="edge"/>
              <c:x val="2.5402166544109487E-3"/>
              <c:y val="0.11065476311061173"/>
            </c:manualLayout>
          </c:layout>
          <c:overlay val="0"/>
          <c:spPr>
            <a:noFill/>
            <a:ln w="25400">
              <a:noFill/>
            </a:ln>
          </c:spPr>
        </c:title>
        <c:numFmt formatCode="#,##0" sourceLinked="0"/>
        <c:majorTickMark val="out"/>
        <c:minorTickMark val="none"/>
        <c:tickLblPos val="nextTo"/>
        <c:spPr>
          <a:ln w="9525">
            <a:noFill/>
          </a:ln>
        </c:spPr>
        <c:txPr>
          <a:bodyPr rot="0" vert="horz"/>
          <a:lstStyle/>
          <a:p>
            <a:pPr>
              <a:defRPr/>
            </a:pPr>
            <a:endParaRPr lang="da-DK"/>
          </a:p>
        </c:txPr>
        <c:crossAx val="347676584"/>
        <c:crosses val="autoZero"/>
        <c:crossBetween val="between"/>
      </c:valAx>
      <c:spPr>
        <a:noFill/>
        <a:ln w="25400">
          <a:noFill/>
        </a:ln>
      </c:spPr>
    </c:plotArea>
    <c:plotVisOnly val="1"/>
    <c:dispBlanksAs val="gap"/>
    <c:showDLblsOverMax val="0"/>
  </c:chart>
  <c:spPr>
    <a:noFill/>
    <a:ln w="9525">
      <a:noFill/>
    </a:ln>
  </c:spPr>
  <c:txPr>
    <a:bodyPr/>
    <a:lstStyle/>
    <a:p>
      <a:pPr>
        <a:defRPr sz="800" b="0" i="0" u="none" strike="noStrike" baseline="0">
          <a:solidFill>
            <a:sysClr val="windowText" lastClr="000000"/>
          </a:solidFill>
          <a:latin typeface="DFDS Sans Offc" panose="00000500000000000000" pitchFamily="2" charset="0"/>
          <a:ea typeface="DFDS Light"/>
          <a:cs typeface="DFDS Light"/>
        </a:defRPr>
      </a:pPr>
      <a:endParaRPr lang="da-DK"/>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b="1">
                <a:solidFill>
                  <a:schemeClr val="bg1"/>
                </a:solidFill>
              </a:defRPr>
            </a:pPr>
            <a:r>
              <a:rPr lang="da-DK" b="1">
                <a:solidFill>
                  <a:schemeClr val="bg1"/>
                </a:solidFill>
              </a:rPr>
              <a:t>Q4 2024 EBIT development vs LY </a:t>
            </a:r>
          </a:p>
        </c:rich>
      </c:tx>
      <c:layout>
        <c:manualLayout>
          <c:xMode val="edge"/>
          <c:yMode val="edge"/>
          <c:x val="0.32227103272447827"/>
          <c:y val="2.3491996899731925E-2"/>
        </c:manualLayout>
      </c:layout>
      <c:overlay val="0"/>
      <c:spPr>
        <a:noFill/>
        <a:ln w="25400">
          <a:noFill/>
        </a:ln>
      </c:spPr>
    </c:title>
    <c:autoTitleDeleted val="0"/>
    <c:plotArea>
      <c:layout>
        <c:manualLayout>
          <c:layoutTarget val="inner"/>
          <c:xMode val="edge"/>
          <c:yMode val="edge"/>
          <c:x val="6.2560412574979629E-2"/>
          <c:y val="0.21763811016214277"/>
          <c:w val="0.90512342422971004"/>
          <c:h val="0.65990231829623214"/>
        </c:manualLayout>
      </c:layout>
      <c:barChart>
        <c:barDir val="col"/>
        <c:grouping val="stacked"/>
        <c:varyColors val="0"/>
        <c:ser>
          <c:idx val="1"/>
          <c:order val="0"/>
          <c:spPr>
            <a:noFill/>
          </c:spPr>
          <c:invertIfNegative val="0"/>
          <c:dPt>
            <c:idx val="4"/>
            <c:invertIfNegative val="0"/>
            <c:bubble3D val="0"/>
            <c:spPr>
              <a:solidFill>
                <a:srgbClr val="002060"/>
              </a:solidFill>
            </c:spPr>
            <c:extLst>
              <c:ext xmlns:c16="http://schemas.microsoft.com/office/drawing/2014/chart" uri="{C3380CC4-5D6E-409C-BE32-E72D297353CC}">
                <c16:uniqueId val="{00000001-F04A-48F5-B909-2534488AED32}"/>
              </c:ext>
            </c:extLst>
          </c:dPt>
          <c:dPt>
            <c:idx val="8"/>
            <c:invertIfNegative val="0"/>
            <c:bubble3D val="0"/>
            <c:spPr>
              <a:noFill/>
              <a:ln w="12700">
                <a:noFill/>
                <a:prstDash val="solid"/>
              </a:ln>
            </c:spPr>
            <c:extLst>
              <c:ext xmlns:c16="http://schemas.microsoft.com/office/drawing/2014/chart" uri="{C3380CC4-5D6E-409C-BE32-E72D297353CC}">
                <c16:uniqueId val="{00000003-F04A-48F5-B909-2534488AED32}"/>
              </c:ext>
            </c:extLst>
          </c:dPt>
          <c:dPt>
            <c:idx val="9"/>
            <c:invertIfNegative val="0"/>
            <c:bubble3D val="0"/>
            <c:spPr>
              <a:noFill/>
              <a:ln w="12700">
                <a:noFill/>
                <a:prstDash val="solid"/>
              </a:ln>
            </c:spPr>
            <c:extLst>
              <c:ext xmlns:c16="http://schemas.microsoft.com/office/drawing/2014/chart" uri="{C3380CC4-5D6E-409C-BE32-E72D297353CC}">
                <c16:uniqueId val="{00000005-F04A-48F5-B909-2534488AED32}"/>
              </c:ext>
            </c:extLst>
          </c:dPt>
          <c:dPt>
            <c:idx val="10"/>
            <c:invertIfNegative val="0"/>
            <c:bubble3D val="0"/>
            <c:spPr>
              <a:noFill/>
              <a:ln w="12700">
                <a:noFill/>
                <a:prstDash val="solid"/>
              </a:ln>
            </c:spPr>
            <c:extLst>
              <c:ext xmlns:c16="http://schemas.microsoft.com/office/drawing/2014/chart" uri="{C3380CC4-5D6E-409C-BE32-E72D297353CC}">
                <c16:uniqueId val="{00000007-F04A-48F5-B909-2534488AED32}"/>
              </c:ext>
            </c:extLst>
          </c:dPt>
          <c:dLbls>
            <c:dLbl>
              <c:idx val="4"/>
              <c:layout>
                <c:manualLayout>
                  <c:x val="-3.9829960566770926E-3"/>
                  <c:y val="-5.067498021698839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04A-48F5-B909-2534488AED32}"/>
                </c:ext>
              </c:extLst>
            </c:dLbl>
            <c:spPr>
              <a:noFill/>
              <a:ln>
                <a:noFill/>
              </a:ln>
              <a:effectLst/>
            </c:spPr>
            <c:txPr>
              <a:bodyPr wrap="square" lIns="38100" tIns="19050" rIns="38100" bIns="19050" anchor="ctr" anchorCtr="0">
                <a:spAutoFit/>
              </a:bodyPr>
              <a:lstStyle/>
              <a:p>
                <a:pPr algn="ctr">
                  <a:defRPr lang="en-US" sz="1200" b="1" i="0" u="none" strike="noStrike" kern="1200" baseline="0">
                    <a:solidFill>
                      <a:schemeClr val="bg1"/>
                    </a:solidFill>
                    <a:latin typeface="DFDS Sans Offc" panose="00000500000000000000" pitchFamily="2" charset="0"/>
                    <a:ea typeface="Arial"/>
                    <a:cs typeface="Arial"/>
                  </a:defRPr>
                </a:pPr>
                <a:endParaRPr lang="da-DK"/>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ebit wf'!$M$12:$Q$12</c:f>
              <c:strCache>
                <c:ptCount val="5"/>
                <c:pt idx="0">
                  <c:v>Q4 2023</c:v>
                </c:pt>
                <c:pt idx="1">
                  <c:v>Ferry</c:v>
                </c:pt>
                <c:pt idx="2">
                  <c:v>Logistics</c:v>
                </c:pt>
                <c:pt idx="3">
                  <c:v>Non-allocated</c:v>
                </c:pt>
                <c:pt idx="4">
                  <c:v>Q4 2024</c:v>
                </c:pt>
              </c:strCache>
            </c:strRef>
          </c:cat>
          <c:val>
            <c:numRef>
              <c:f>'ebit wf'!$M$13:$Q$13</c:f>
              <c:numCache>
                <c:formatCode>0</c:formatCode>
                <c:ptCount val="5"/>
                <c:pt idx="1">
                  <c:v>57</c:v>
                </c:pt>
                <c:pt idx="2">
                  <c:v>0</c:v>
                </c:pt>
                <c:pt idx="3">
                  <c:v>0</c:v>
                </c:pt>
                <c:pt idx="4" formatCode="#,##0">
                  <c:v>2</c:v>
                </c:pt>
              </c:numCache>
            </c:numRef>
          </c:val>
          <c:extLst>
            <c:ext xmlns:c16="http://schemas.microsoft.com/office/drawing/2014/chart" uri="{C3380CC4-5D6E-409C-BE32-E72D297353CC}">
              <c16:uniqueId val="{00000008-F04A-48F5-B909-2534488AED32}"/>
            </c:ext>
          </c:extLst>
        </c:ser>
        <c:ser>
          <c:idx val="2"/>
          <c:order val="1"/>
          <c:invertIfNegative val="0"/>
          <c:dPt>
            <c:idx val="0"/>
            <c:invertIfNegative val="0"/>
            <c:bubble3D val="0"/>
            <c:spPr>
              <a:solidFill>
                <a:srgbClr val="002060"/>
              </a:solidFill>
            </c:spPr>
            <c:extLst>
              <c:ext xmlns:c16="http://schemas.microsoft.com/office/drawing/2014/chart" uri="{C3380CC4-5D6E-409C-BE32-E72D297353CC}">
                <c16:uniqueId val="{0000000A-F04A-48F5-B909-2534488AED32}"/>
              </c:ext>
            </c:extLst>
          </c:dPt>
          <c:dPt>
            <c:idx val="1"/>
            <c:invertIfNegative val="0"/>
            <c:bubble3D val="0"/>
            <c:spPr>
              <a:solidFill>
                <a:schemeClr val="accent5"/>
              </a:solidFill>
            </c:spPr>
            <c:extLst>
              <c:ext xmlns:c16="http://schemas.microsoft.com/office/drawing/2014/chart" uri="{C3380CC4-5D6E-409C-BE32-E72D297353CC}">
                <c16:uniqueId val="{0000000C-F04A-48F5-B909-2534488AED32}"/>
              </c:ext>
            </c:extLst>
          </c:dPt>
          <c:dPt>
            <c:idx val="2"/>
            <c:invertIfNegative val="0"/>
            <c:bubble3D val="0"/>
            <c:spPr>
              <a:solidFill>
                <a:schemeClr val="accent5"/>
              </a:solidFill>
            </c:spPr>
            <c:extLst>
              <c:ext xmlns:c16="http://schemas.microsoft.com/office/drawing/2014/chart" uri="{C3380CC4-5D6E-409C-BE32-E72D297353CC}">
                <c16:uniqueId val="{0000000E-F04A-48F5-B909-2534488AED32}"/>
              </c:ext>
            </c:extLst>
          </c:dPt>
          <c:dLbls>
            <c:dLbl>
              <c:idx val="1"/>
              <c:tx>
                <c:rich>
                  <a:bodyPr/>
                  <a:lstStyle/>
                  <a:p>
                    <a:r>
                      <a:rPr lang="en-US"/>
                      <a:t>-</a:t>
                    </a:r>
                    <a:fld id="{C8551517-26E1-47E7-9A3B-A5348E6F2CCC}" type="VALUE">
                      <a:rPr lang="en-US"/>
                      <a:pPr/>
                      <a:t>[VALUE]</a:t>
                    </a:fld>
                    <a:endParaRPr 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C-F04A-48F5-B909-2534488AED32}"/>
                </c:ext>
              </c:extLst>
            </c:dLbl>
            <c:dLbl>
              <c:idx val="2"/>
              <c:tx>
                <c:rich>
                  <a:bodyPr/>
                  <a:lstStyle/>
                  <a:p>
                    <a:r>
                      <a:rPr lang="en-US"/>
                      <a:t>-11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F04A-48F5-B909-2534488AED32}"/>
                </c:ext>
              </c:extLst>
            </c:dLbl>
            <c:dLbl>
              <c:idx val="3"/>
              <c:layout>
                <c:manualLayout>
                  <c:x val="0"/>
                  <c:y val="3.1527084439913589E-2"/>
                </c:manualLayout>
              </c:layout>
              <c:tx>
                <c:rich>
                  <a:bodyPr/>
                  <a:lstStyle/>
                  <a:p>
                    <a:r>
                      <a:rPr lang="en-US">
                        <a:solidFill>
                          <a:schemeClr val="bg1"/>
                        </a:solidFill>
                      </a:rPr>
                      <a:t>6</a:t>
                    </a:r>
                    <a:fld id="{2ABA9088-A919-4CD3-9DE7-BB33F0AE4D3E}" type="VALUE">
                      <a:rPr lang="en-US">
                        <a:solidFill>
                          <a:schemeClr val="bg1"/>
                        </a:solidFill>
                      </a:rPr>
                      <a:pPr/>
                      <a:t>[VALUE]</a:t>
                    </a:fld>
                    <a:endParaRPr lang="en-US">
                      <a:solidFill>
                        <a:schemeClr val="bg1"/>
                      </a:solidFill>
                    </a:endParaRP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F-F04A-48F5-B909-2534488AED32}"/>
                </c:ext>
              </c:extLst>
            </c:dLbl>
            <c:spPr>
              <a:noFill/>
              <a:ln>
                <a:noFill/>
              </a:ln>
              <a:effectLst/>
            </c:spPr>
            <c:txPr>
              <a:bodyPr/>
              <a:lstStyle/>
              <a:p>
                <a:pPr algn="ctr">
                  <a:defRPr sz="1200" b="1">
                    <a:solidFill>
                      <a:schemeClr val="bg1"/>
                    </a:solidFill>
                  </a:defRPr>
                </a:pPr>
                <a:endParaRPr lang="da-DK"/>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ebit wf'!$M$12:$Q$12</c:f>
              <c:strCache>
                <c:ptCount val="5"/>
                <c:pt idx="0">
                  <c:v>Q4 2023</c:v>
                </c:pt>
                <c:pt idx="1">
                  <c:v>Ferry</c:v>
                </c:pt>
                <c:pt idx="2">
                  <c:v>Logistics</c:v>
                </c:pt>
                <c:pt idx="3">
                  <c:v>Non-allocated</c:v>
                </c:pt>
                <c:pt idx="4">
                  <c:v>Q4 2024</c:v>
                </c:pt>
              </c:strCache>
            </c:strRef>
          </c:cat>
          <c:val>
            <c:numRef>
              <c:f>'ebit wf'!$M$14:$Q$14</c:f>
              <c:numCache>
                <c:formatCode>0</c:formatCode>
                <c:ptCount val="5"/>
                <c:pt idx="0" formatCode="#,##0">
                  <c:v>358</c:v>
                </c:pt>
                <c:pt idx="1">
                  <c:v>301</c:v>
                </c:pt>
                <c:pt idx="2">
                  <c:v>57</c:v>
                </c:pt>
                <c:pt idx="3">
                  <c:v>2</c:v>
                </c:pt>
              </c:numCache>
            </c:numRef>
          </c:val>
          <c:extLst>
            <c:ext xmlns:c16="http://schemas.microsoft.com/office/drawing/2014/chart" uri="{C3380CC4-5D6E-409C-BE32-E72D297353CC}">
              <c16:uniqueId val="{00000010-F04A-48F5-B909-2534488AED32}"/>
            </c:ext>
          </c:extLst>
        </c:ser>
        <c:ser>
          <c:idx val="0"/>
          <c:order val="2"/>
          <c:spPr>
            <a:solidFill>
              <a:srgbClr val="00B0F0"/>
            </a:solidFill>
          </c:spPr>
          <c:invertIfNegative val="0"/>
          <c:dPt>
            <c:idx val="2"/>
            <c:invertIfNegative val="0"/>
            <c:bubble3D val="0"/>
            <c:spPr>
              <a:solidFill>
                <a:schemeClr val="accent5"/>
              </a:solidFill>
            </c:spPr>
            <c:extLst>
              <c:ext xmlns:c16="http://schemas.microsoft.com/office/drawing/2014/chart" uri="{C3380CC4-5D6E-409C-BE32-E72D297353CC}">
                <c16:uniqueId val="{00000014-F04A-48F5-B909-2534488AED32}"/>
              </c:ext>
            </c:extLst>
          </c:dPt>
          <c:dPt>
            <c:idx val="3"/>
            <c:invertIfNegative val="0"/>
            <c:bubble3D val="0"/>
            <c:spPr>
              <a:solidFill>
                <a:schemeClr val="accent3"/>
              </a:solidFill>
            </c:spPr>
            <c:extLst>
              <c:ext xmlns:c16="http://schemas.microsoft.com/office/drawing/2014/chart" uri="{C3380CC4-5D6E-409C-BE32-E72D297353CC}">
                <c16:uniqueId val="{00000012-F04A-48F5-B909-2534488AED32}"/>
              </c:ext>
            </c:extLst>
          </c:dPt>
          <c:dLbls>
            <c:delete val="1"/>
          </c:dLbls>
          <c:cat>
            <c:strRef>
              <c:f>'ebit wf'!$M$12:$Q$12</c:f>
              <c:strCache>
                <c:ptCount val="5"/>
                <c:pt idx="0">
                  <c:v>Q4 2023</c:v>
                </c:pt>
                <c:pt idx="1">
                  <c:v>Ferry</c:v>
                </c:pt>
                <c:pt idx="2">
                  <c:v>Logistics</c:v>
                </c:pt>
                <c:pt idx="3">
                  <c:v>Non-allocated</c:v>
                </c:pt>
                <c:pt idx="4">
                  <c:v>Q4 2024</c:v>
                </c:pt>
              </c:strCache>
            </c:strRef>
          </c:cat>
          <c:val>
            <c:numRef>
              <c:f>'ebit wf'!$M$15:$Q$15</c:f>
              <c:numCache>
                <c:formatCode>General</c:formatCode>
                <c:ptCount val="5"/>
                <c:pt idx="2" formatCode="0">
                  <c:v>-60</c:v>
                </c:pt>
                <c:pt idx="3" formatCode="0">
                  <c:v>-60</c:v>
                </c:pt>
              </c:numCache>
            </c:numRef>
          </c:val>
          <c:extLst>
            <c:ext xmlns:c16="http://schemas.microsoft.com/office/drawing/2014/chart" uri="{C3380CC4-5D6E-409C-BE32-E72D297353CC}">
              <c16:uniqueId val="{00000013-F04A-48F5-B909-2534488AED32}"/>
            </c:ext>
          </c:extLst>
        </c:ser>
        <c:dLbls>
          <c:showLegendKey val="0"/>
          <c:showVal val="1"/>
          <c:showCatName val="0"/>
          <c:showSerName val="0"/>
          <c:showPercent val="0"/>
          <c:showBubbleSize val="0"/>
        </c:dLbls>
        <c:gapWidth val="23"/>
        <c:overlap val="100"/>
        <c:axId val="526143232"/>
        <c:axId val="527457512"/>
        <c:extLst/>
      </c:barChart>
      <c:catAx>
        <c:axId val="526143232"/>
        <c:scaling>
          <c:orientation val="minMax"/>
        </c:scaling>
        <c:delete val="0"/>
        <c:axPos val="b"/>
        <c:numFmt formatCode="General" sourceLinked="1"/>
        <c:majorTickMark val="out"/>
        <c:minorTickMark val="none"/>
        <c:tickLblPos val="low"/>
        <c:spPr>
          <a:ln w="3175">
            <a:solidFill>
              <a:srgbClr val="000000"/>
            </a:solidFill>
            <a:prstDash val="solid"/>
          </a:ln>
        </c:spPr>
        <c:txPr>
          <a:bodyPr rot="0" vert="horz"/>
          <a:lstStyle/>
          <a:p>
            <a:pPr>
              <a:defRPr sz="900">
                <a:solidFill>
                  <a:schemeClr val="bg1"/>
                </a:solidFill>
              </a:defRPr>
            </a:pPr>
            <a:endParaRPr lang="da-DK"/>
          </a:p>
        </c:txPr>
        <c:crossAx val="527457512"/>
        <c:crosses val="autoZero"/>
        <c:auto val="1"/>
        <c:lblAlgn val="ctr"/>
        <c:lblOffset val="100"/>
        <c:tickLblSkip val="1"/>
        <c:tickMarkSkip val="1"/>
        <c:noMultiLvlLbl val="0"/>
      </c:catAx>
      <c:valAx>
        <c:axId val="527457512"/>
        <c:scaling>
          <c:orientation val="minMax"/>
          <c:max val="400"/>
          <c:min val="-100"/>
        </c:scaling>
        <c:delete val="0"/>
        <c:axPos val="l"/>
        <c:majorGridlines>
          <c:spPr>
            <a:ln w="3175">
              <a:noFill/>
              <a:prstDash val="solid"/>
            </a:ln>
          </c:spPr>
        </c:majorGridlines>
        <c:title>
          <c:tx>
            <c:rich>
              <a:bodyPr rot="0" vert="horz"/>
              <a:lstStyle/>
              <a:p>
                <a:pPr>
                  <a:defRPr>
                    <a:solidFill>
                      <a:schemeClr val="bg1"/>
                    </a:solidFill>
                  </a:defRPr>
                </a:pPr>
                <a:r>
                  <a:rPr lang="da-DK">
                    <a:solidFill>
                      <a:schemeClr val="bg1"/>
                    </a:solidFill>
                  </a:rPr>
                  <a:t>DKK m</a:t>
                </a:r>
              </a:p>
            </c:rich>
          </c:tx>
          <c:layout>
            <c:manualLayout>
              <c:xMode val="edge"/>
              <c:yMode val="edge"/>
              <c:x val="2.9210897198022668E-3"/>
              <c:y val="7.4657858988808251E-2"/>
            </c:manualLayout>
          </c:layout>
          <c:overlay val="0"/>
          <c:spPr>
            <a:noFill/>
            <a:ln w="25400">
              <a:noFill/>
            </a:ln>
          </c:spPr>
        </c:title>
        <c:numFmt formatCode="#,##0" sourceLinked="0"/>
        <c:majorTickMark val="out"/>
        <c:minorTickMark val="none"/>
        <c:tickLblPos val="nextTo"/>
        <c:spPr>
          <a:ln w="9525">
            <a:noFill/>
          </a:ln>
        </c:spPr>
        <c:txPr>
          <a:bodyPr rot="0" vert="horz"/>
          <a:lstStyle/>
          <a:p>
            <a:pPr>
              <a:defRPr sz="800">
                <a:solidFill>
                  <a:schemeClr val="bg1"/>
                </a:solidFill>
              </a:defRPr>
            </a:pPr>
            <a:endParaRPr lang="da-DK"/>
          </a:p>
        </c:txPr>
        <c:crossAx val="526143232"/>
        <c:crosses val="autoZero"/>
        <c:crossBetween val="between"/>
        <c:majorUnit val="100"/>
      </c:valAx>
      <c:spPr>
        <a:noFill/>
        <a:ln w="25400">
          <a:noFill/>
        </a:ln>
      </c:spPr>
    </c:plotArea>
    <c:plotVisOnly val="1"/>
    <c:dispBlanksAs val="gap"/>
    <c:showDLblsOverMax val="0"/>
  </c:chart>
  <c:spPr>
    <a:noFill/>
    <a:ln w="9525">
      <a:noFill/>
    </a:ln>
  </c:spPr>
  <c:txPr>
    <a:bodyPr/>
    <a:lstStyle/>
    <a:p>
      <a:pPr>
        <a:defRPr sz="900" b="0" i="0" u="none" strike="noStrike" baseline="0">
          <a:solidFill>
            <a:srgbClr val="000000"/>
          </a:solidFill>
          <a:latin typeface="DFDS Sans Offc" panose="00000500000000000000" pitchFamily="2" charset="0"/>
          <a:ea typeface="Arial"/>
          <a:cs typeface="Arial"/>
        </a:defRPr>
      </a:pPr>
      <a:endParaRPr lang="da-DK"/>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050" b="1"/>
            </a:pPr>
            <a:r>
              <a:rPr lang="da-DK" sz="1050" b="1"/>
              <a:t>Change in revenue, full-year 2024 vs 2023</a:t>
            </a:r>
          </a:p>
        </c:rich>
      </c:tx>
      <c:overlay val="1"/>
    </c:title>
    <c:autoTitleDeleted val="0"/>
    <c:plotArea>
      <c:layout>
        <c:manualLayout>
          <c:layoutTarget val="inner"/>
          <c:xMode val="edge"/>
          <c:yMode val="edge"/>
          <c:x val="6.832759877865377E-2"/>
          <c:y val="0.16130874676844259"/>
          <c:w val="0.89935628674292489"/>
          <c:h val="0.67064218990544411"/>
        </c:manualLayout>
      </c:layout>
      <c:barChart>
        <c:barDir val="col"/>
        <c:grouping val="stacked"/>
        <c:varyColors val="0"/>
        <c:ser>
          <c:idx val="0"/>
          <c:order val="0"/>
          <c:spPr>
            <a:noFill/>
          </c:spPr>
          <c:invertIfNegative val="0"/>
          <c:dPt>
            <c:idx val="0"/>
            <c:invertIfNegative val="0"/>
            <c:bubble3D val="0"/>
            <c:spPr>
              <a:solidFill>
                <a:srgbClr val="002060"/>
              </a:solidFill>
            </c:spPr>
            <c:extLst>
              <c:ext xmlns:c16="http://schemas.microsoft.com/office/drawing/2014/chart" uri="{C3380CC4-5D6E-409C-BE32-E72D297353CC}">
                <c16:uniqueId val="{00000001-810A-4FC3-9CA5-DFC116DCC599}"/>
              </c:ext>
            </c:extLst>
          </c:dPt>
          <c:dPt>
            <c:idx val="3"/>
            <c:invertIfNegative val="0"/>
            <c:bubble3D val="0"/>
            <c:extLst>
              <c:ext xmlns:c16="http://schemas.microsoft.com/office/drawing/2014/chart" uri="{C3380CC4-5D6E-409C-BE32-E72D297353CC}">
                <c16:uniqueId val="{00000002-810A-4FC3-9CA5-DFC116DCC599}"/>
              </c:ext>
            </c:extLst>
          </c:dPt>
          <c:dPt>
            <c:idx val="6"/>
            <c:invertIfNegative val="0"/>
            <c:bubble3D val="0"/>
            <c:spPr>
              <a:solidFill>
                <a:srgbClr val="002060"/>
              </a:solidFill>
            </c:spPr>
            <c:extLst>
              <c:ext xmlns:c16="http://schemas.microsoft.com/office/drawing/2014/chart" uri="{C3380CC4-5D6E-409C-BE32-E72D297353CC}">
                <c16:uniqueId val="{00000004-810A-4FC3-9CA5-DFC116DCC599}"/>
              </c:ext>
            </c:extLst>
          </c:dPt>
          <c:dPt>
            <c:idx val="9"/>
            <c:invertIfNegative val="0"/>
            <c:bubble3D val="0"/>
            <c:spPr>
              <a:noFill/>
              <a:ln w="12700">
                <a:noFill/>
                <a:prstDash val="solid"/>
              </a:ln>
            </c:spPr>
            <c:extLst>
              <c:ext xmlns:c16="http://schemas.microsoft.com/office/drawing/2014/chart" uri="{C3380CC4-5D6E-409C-BE32-E72D297353CC}">
                <c16:uniqueId val="{00000006-810A-4FC3-9CA5-DFC116DCC599}"/>
              </c:ext>
            </c:extLst>
          </c:dPt>
          <c:dPt>
            <c:idx val="10"/>
            <c:invertIfNegative val="0"/>
            <c:bubble3D val="0"/>
            <c:spPr>
              <a:noFill/>
              <a:ln w="12700">
                <a:noFill/>
                <a:prstDash val="solid"/>
              </a:ln>
            </c:spPr>
            <c:extLst>
              <c:ext xmlns:c16="http://schemas.microsoft.com/office/drawing/2014/chart" uri="{C3380CC4-5D6E-409C-BE32-E72D297353CC}">
                <c16:uniqueId val="{00000008-810A-4FC3-9CA5-DFC116DCC599}"/>
              </c:ext>
            </c:extLst>
          </c:dPt>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10A-4FC3-9CA5-DFC116DCC599}"/>
                </c:ext>
              </c:extLst>
            </c:dLbl>
            <c:dLbl>
              <c:idx val="6"/>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810A-4FC3-9CA5-DFC116DCC599}"/>
                </c:ext>
              </c:extLst>
            </c:dLbl>
            <c:spPr>
              <a:noFill/>
              <a:ln>
                <a:noFill/>
              </a:ln>
              <a:effectLst/>
            </c:spPr>
            <c:txPr>
              <a:bodyPr wrap="square" lIns="38100" tIns="19050" rIns="38100" bIns="19050" anchor="ctr" anchorCtr="0">
                <a:spAutoFit/>
              </a:bodyPr>
              <a:lstStyle/>
              <a:p>
                <a:pPr algn="ctr" rtl="0">
                  <a:defRPr lang="en-US" sz="1400" b="1" i="0" u="none" strike="noStrike" kern="1200" baseline="0">
                    <a:solidFill>
                      <a:schemeClr val="bg1"/>
                    </a:solidFill>
                    <a:latin typeface="DFDS Sans Offc" panose="00000500000000000000" pitchFamily="2" charset="0"/>
                    <a:ea typeface="Arial"/>
                    <a:cs typeface="Arial"/>
                  </a:defRPr>
                </a:pPr>
                <a:endParaRPr lang="da-DK"/>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rev ext fy'!$P$10:$V$10</c:f>
              <c:strCache>
                <c:ptCount val="7"/>
                <c:pt idx="0">
                  <c:v>2023</c:v>
                </c:pt>
                <c:pt idx="1">
                  <c:v>Freight ferry</c:v>
                </c:pt>
                <c:pt idx="2">
                  <c:v>Passenger</c:v>
                </c:pt>
                <c:pt idx="3">
                  <c:v>Logistics</c:v>
                </c:pt>
                <c:pt idx="4">
                  <c:v>Acquisitions, net</c:v>
                </c:pt>
                <c:pt idx="5">
                  <c:v>Other</c:v>
                </c:pt>
                <c:pt idx="6">
                  <c:v>2024</c:v>
                </c:pt>
              </c:strCache>
            </c:strRef>
          </c:cat>
          <c:val>
            <c:numRef>
              <c:f>'rev ext fy'!$P$11:$V$11</c:f>
              <c:numCache>
                <c:formatCode>0.0</c:formatCode>
                <c:ptCount val="7"/>
                <c:pt idx="0" formatCode="#,##0">
                  <c:v>27304</c:v>
                </c:pt>
                <c:pt idx="1">
                  <c:v>27215</c:v>
                </c:pt>
                <c:pt idx="2">
                  <c:v>27215</c:v>
                </c:pt>
                <c:pt idx="3">
                  <c:v>27559</c:v>
                </c:pt>
                <c:pt idx="4">
                  <c:v>27908</c:v>
                </c:pt>
                <c:pt idx="5">
                  <c:v>29752</c:v>
                </c:pt>
                <c:pt idx="6" formatCode="#,##0">
                  <c:v>29753</c:v>
                </c:pt>
              </c:numCache>
            </c:numRef>
          </c:val>
          <c:extLst>
            <c:ext xmlns:c16="http://schemas.microsoft.com/office/drawing/2014/chart" uri="{C3380CC4-5D6E-409C-BE32-E72D297353CC}">
              <c16:uniqueId val="{00000009-810A-4FC3-9CA5-DFC116DCC599}"/>
            </c:ext>
          </c:extLst>
        </c:ser>
        <c:ser>
          <c:idx val="1"/>
          <c:order val="1"/>
          <c:invertIfNegative val="0"/>
          <c:dPt>
            <c:idx val="1"/>
            <c:invertIfNegative val="0"/>
            <c:bubble3D val="0"/>
            <c:spPr>
              <a:solidFill>
                <a:schemeClr val="accent5">
                  <a:lumMod val="90000"/>
                </a:schemeClr>
              </a:solidFill>
            </c:spPr>
            <c:extLst>
              <c:ext xmlns:c16="http://schemas.microsoft.com/office/drawing/2014/chart" uri="{C3380CC4-5D6E-409C-BE32-E72D297353CC}">
                <c16:uniqueId val="{0000000B-810A-4FC3-9CA5-DFC116DCC599}"/>
              </c:ext>
            </c:extLst>
          </c:dPt>
          <c:dPt>
            <c:idx val="9"/>
            <c:invertIfNegative val="0"/>
            <c:bubble3D val="0"/>
            <c:extLst>
              <c:ext xmlns:c16="http://schemas.microsoft.com/office/drawing/2014/chart" uri="{C3380CC4-5D6E-409C-BE32-E72D297353CC}">
                <c16:uniqueId val="{0000000A-810A-4FC3-9CA5-DFC116DCC599}"/>
              </c:ext>
            </c:extLst>
          </c:dPt>
          <c:dLbls>
            <c:dLbl>
              <c:idx val="1"/>
              <c:layout>
                <c:manualLayout>
                  <c:x val="0"/>
                  <c:y val="4.2118647566910042E-2"/>
                </c:manualLayout>
              </c:layout>
              <c:tx>
                <c:rich>
                  <a:bodyPr/>
                  <a:lstStyle/>
                  <a:p>
                    <a:pPr algn="ctr" rtl="0">
                      <a:defRPr sz="1400" b="1">
                        <a:solidFill>
                          <a:schemeClr val="tx1"/>
                        </a:solidFill>
                      </a:defRPr>
                    </a:pPr>
                    <a:r>
                      <a:rPr lang="en-US">
                        <a:solidFill>
                          <a:schemeClr val="tx1"/>
                        </a:solidFill>
                      </a:rPr>
                      <a:t>-</a:t>
                    </a:r>
                    <a:fld id="{E9C1CB66-B9B0-4F80-82A2-F9D7F248F4F3}" type="VALUE">
                      <a:rPr lang="en-US">
                        <a:solidFill>
                          <a:schemeClr val="tx1"/>
                        </a:solidFill>
                      </a:rPr>
                      <a:pPr algn="ctr" rtl="0">
                        <a:defRPr sz="1400" b="1">
                          <a:solidFill>
                            <a:schemeClr val="tx1"/>
                          </a:solidFill>
                        </a:defRPr>
                      </a:pPr>
                      <a:t>[VALUE]</a:t>
                    </a:fld>
                    <a:endParaRPr lang="en-US">
                      <a:solidFill>
                        <a:schemeClr val="tx1"/>
                      </a:solidFill>
                    </a:endParaRPr>
                  </a:p>
                </c:rich>
              </c:tx>
              <c:spPr>
                <a:noFill/>
                <a:ln>
                  <a:noFill/>
                </a:ln>
                <a:effectLst/>
              </c:spP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B-810A-4FC3-9CA5-DFC116DCC599}"/>
                </c:ext>
              </c:extLst>
            </c:dLbl>
            <c:dLbl>
              <c:idx val="2"/>
              <c:tx>
                <c:rich>
                  <a:bodyPr/>
                  <a:lstStyle/>
                  <a:p>
                    <a:fld id="{B56D1863-4F20-4BAD-B690-7214E75DA6BC}" type="VALUE">
                      <a:rPr lang="en-US"/>
                      <a:pPr/>
                      <a:t>[VALUE]</a:t>
                    </a:fld>
                    <a:endParaRPr lang="da-DK"/>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C-810A-4FC3-9CA5-DFC116DCC599}"/>
                </c:ext>
              </c:extLst>
            </c:dLbl>
            <c:dLbl>
              <c:idx val="5"/>
              <c:tx>
                <c:rich>
                  <a:bodyPr/>
                  <a:lstStyle/>
                  <a:p>
                    <a:r>
                      <a:rPr lang="en-US"/>
                      <a:t>-</a:t>
                    </a:r>
                    <a:fld id="{7C28B835-F262-419F-A1C5-709922A672A7}" type="VALUE">
                      <a:rPr lang="en-US"/>
                      <a:pPr/>
                      <a:t>[VALUE]</a:t>
                    </a:fld>
                    <a:endParaRPr 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D-810A-4FC3-9CA5-DFC116DCC599}"/>
                </c:ext>
              </c:extLst>
            </c:dLbl>
            <c:dLbl>
              <c:idx val="9"/>
              <c:tx>
                <c:rich>
                  <a:bodyPr/>
                  <a:lstStyle/>
                  <a:p>
                    <a:r>
                      <a:rPr lang="en-US"/>
                      <a:t>-</a:t>
                    </a:r>
                    <a:fld id="{CBB10778-A708-42C5-8EC0-EF642D1EDCC7}" type="VALUE">
                      <a:rPr lang="en-US"/>
                      <a:pPr/>
                      <a:t>[VALUE]</a:t>
                    </a:fld>
                    <a:endParaRPr 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A-810A-4FC3-9CA5-DFC116DCC599}"/>
                </c:ext>
              </c:extLst>
            </c:dLbl>
            <c:spPr>
              <a:noFill/>
              <a:ln>
                <a:noFill/>
              </a:ln>
              <a:effectLst/>
            </c:spPr>
            <c:txPr>
              <a:bodyPr/>
              <a:lstStyle/>
              <a:p>
                <a:pPr algn="ctr" rtl="0">
                  <a:defRPr sz="1400" b="1">
                    <a:solidFill>
                      <a:schemeClr val="bg1"/>
                    </a:solidFill>
                  </a:defRPr>
                </a:pPr>
                <a:endParaRPr lang="da-DK"/>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rev ext fy'!$P$10:$V$10</c:f>
              <c:strCache>
                <c:ptCount val="7"/>
                <c:pt idx="0">
                  <c:v>2023</c:v>
                </c:pt>
                <c:pt idx="1">
                  <c:v>Freight ferry</c:v>
                </c:pt>
                <c:pt idx="2">
                  <c:v>Passenger</c:v>
                </c:pt>
                <c:pt idx="3">
                  <c:v>Logistics</c:v>
                </c:pt>
                <c:pt idx="4">
                  <c:v>Acquisitions, net</c:v>
                </c:pt>
                <c:pt idx="5">
                  <c:v>Other</c:v>
                </c:pt>
                <c:pt idx="6">
                  <c:v>2024</c:v>
                </c:pt>
              </c:strCache>
            </c:strRef>
          </c:cat>
          <c:val>
            <c:numRef>
              <c:f>'rev ext fy'!$P$12:$V$12</c:f>
              <c:numCache>
                <c:formatCode>0</c:formatCode>
                <c:ptCount val="7"/>
                <c:pt idx="1">
                  <c:v>89</c:v>
                </c:pt>
                <c:pt idx="2">
                  <c:v>344</c:v>
                </c:pt>
                <c:pt idx="3">
                  <c:v>349</c:v>
                </c:pt>
                <c:pt idx="4" formatCode="#,##0">
                  <c:v>2013</c:v>
                </c:pt>
                <c:pt idx="5">
                  <c:v>169</c:v>
                </c:pt>
              </c:numCache>
            </c:numRef>
          </c:val>
          <c:extLst>
            <c:ext xmlns:c16="http://schemas.microsoft.com/office/drawing/2014/chart" uri="{C3380CC4-5D6E-409C-BE32-E72D297353CC}">
              <c16:uniqueId val="{0000000E-810A-4FC3-9CA5-DFC116DCC599}"/>
            </c:ext>
          </c:extLst>
        </c:ser>
        <c:dLbls>
          <c:showLegendKey val="0"/>
          <c:showVal val="1"/>
          <c:showCatName val="0"/>
          <c:showSerName val="0"/>
          <c:showPercent val="0"/>
          <c:showBubbleSize val="0"/>
        </c:dLbls>
        <c:gapWidth val="4"/>
        <c:overlap val="100"/>
        <c:axId val="527134856"/>
        <c:axId val="527135248"/>
      </c:barChart>
      <c:catAx>
        <c:axId val="527134856"/>
        <c:scaling>
          <c:orientation val="minMax"/>
        </c:scaling>
        <c:delete val="0"/>
        <c:axPos val="b"/>
        <c:numFmt formatCode="General" sourceLinked="1"/>
        <c:majorTickMark val="out"/>
        <c:minorTickMark val="none"/>
        <c:tickLblPos val="low"/>
        <c:spPr>
          <a:ln w="3175">
            <a:solidFill>
              <a:srgbClr val="000000"/>
            </a:solidFill>
            <a:prstDash val="solid"/>
          </a:ln>
        </c:spPr>
        <c:txPr>
          <a:bodyPr rot="0" vert="horz"/>
          <a:lstStyle/>
          <a:p>
            <a:pPr>
              <a:defRPr/>
            </a:pPr>
            <a:endParaRPr lang="da-DK"/>
          </a:p>
        </c:txPr>
        <c:crossAx val="527135248"/>
        <c:crosses val="autoZero"/>
        <c:auto val="1"/>
        <c:lblAlgn val="ctr"/>
        <c:lblOffset val="100"/>
        <c:tickLblSkip val="1"/>
        <c:tickMarkSkip val="1"/>
        <c:noMultiLvlLbl val="0"/>
      </c:catAx>
      <c:valAx>
        <c:axId val="527135248"/>
        <c:scaling>
          <c:orientation val="minMax"/>
          <c:max val="30000"/>
          <c:min val="26500"/>
        </c:scaling>
        <c:delete val="0"/>
        <c:axPos val="l"/>
        <c:majorGridlines>
          <c:spPr>
            <a:ln w="3175">
              <a:noFill/>
              <a:prstDash val="solid"/>
            </a:ln>
          </c:spPr>
        </c:majorGridlines>
        <c:title>
          <c:tx>
            <c:rich>
              <a:bodyPr rot="0" vert="horz"/>
              <a:lstStyle/>
              <a:p>
                <a:pPr>
                  <a:defRPr/>
                </a:pPr>
                <a:r>
                  <a:rPr lang="da-DK"/>
                  <a:t>DKK m</a:t>
                </a:r>
              </a:p>
            </c:rich>
          </c:tx>
          <c:layout>
            <c:manualLayout>
              <c:xMode val="edge"/>
              <c:yMode val="edge"/>
              <c:x val="1.6757116835021909E-3"/>
              <c:y val="8.8012237067170276E-2"/>
            </c:manualLayout>
          </c:layout>
          <c:overlay val="0"/>
          <c:spPr>
            <a:noFill/>
            <a:ln w="25400">
              <a:noFill/>
            </a:ln>
          </c:spPr>
        </c:title>
        <c:numFmt formatCode="#,##0" sourceLinked="0"/>
        <c:majorTickMark val="out"/>
        <c:minorTickMark val="none"/>
        <c:tickLblPos val="nextTo"/>
        <c:spPr>
          <a:ln w="9525">
            <a:noFill/>
          </a:ln>
        </c:spPr>
        <c:txPr>
          <a:bodyPr rot="0" vert="horz"/>
          <a:lstStyle/>
          <a:p>
            <a:pPr>
              <a:defRPr/>
            </a:pPr>
            <a:endParaRPr lang="da-DK"/>
          </a:p>
        </c:txPr>
        <c:crossAx val="527134856"/>
        <c:crosses val="autoZero"/>
        <c:crossBetween val="between"/>
        <c:majorUnit val="500"/>
        <c:minorUnit val="5"/>
      </c:valAx>
      <c:spPr>
        <a:noFill/>
        <a:ln w="25400">
          <a:noFill/>
        </a:ln>
      </c:spPr>
    </c:plotArea>
    <c:plotVisOnly val="1"/>
    <c:dispBlanksAs val="gap"/>
    <c:showDLblsOverMax val="0"/>
  </c:chart>
  <c:spPr>
    <a:noFill/>
    <a:ln w="9525">
      <a:noFill/>
    </a:ln>
  </c:spPr>
  <c:txPr>
    <a:bodyPr/>
    <a:lstStyle/>
    <a:p>
      <a:pPr>
        <a:defRPr sz="800" b="0" i="0" u="none" strike="noStrike" baseline="0">
          <a:solidFill>
            <a:srgbClr val="000000"/>
          </a:solidFill>
          <a:latin typeface="DFDS Sans Offc" panose="00000500000000000000" pitchFamily="2" charset="0"/>
          <a:ea typeface="Arial"/>
          <a:cs typeface="Arial"/>
        </a:defRPr>
      </a:pPr>
      <a:endParaRPr lang="da-DK"/>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050" b="1"/>
            </a:pPr>
            <a:r>
              <a:rPr lang="da-DK" sz="1050" b="1"/>
              <a:t>DFDS Group - full-year EBIT</a:t>
            </a:r>
          </a:p>
        </c:rich>
      </c:tx>
      <c:layout>
        <c:manualLayout>
          <c:xMode val="edge"/>
          <c:yMode val="edge"/>
          <c:x val="0.35151419351219576"/>
          <c:y val="2.9598901689696176E-2"/>
        </c:manualLayout>
      </c:layout>
      <c:overlay val="0"/>
      <c:spPr>
        <a:noFill/>
        <a:ln w="25400">
          <a:noFill/>
        </a:ln>
      </c:spPr>
    </c:title>
    <c:autoTitleDeleted val="0"/>
    <c:plotArea>
      <c:layout>
        <c:manualLayout>
          <c:layoutTarget val="inner"/>
          <c:xMode val="edge"/>
          <c:yMode val="edge"/>
          <c:x val="8.2636946226029073E-2"/>
          <c:y val="0.17216178801005888"/>
          <c:w val="0.86967707960534124"/>
          <c:h val="0.7069622358710933"/>
        </c:manualLayout>
      </c:layout>
      <c:barChart>
        <c:barDir val="bar"/>
        <c:grouping val="clustered"/>
        <c:varyColors val="0"/>
        <c:ser>
          <c:idx val="1"/>
          <c:order val="0"/>
          <c:tx>
            <c:strRef>
              <c:f>'EBIT Group bar fy 24'!$A$6</c:f>
              <c:strCache>
                <c:ptCount val="1"/>
                <c:pt idx="0">
                  <c:v>DFDS Koncernen</c:v>
                </c:pt>
              </c:strCache>
            </c:strRef>
          </c:tx>
          <c:spPr>
            <a:solidFill>
              <a:schemeClr val="accent3"/>
            </a:solidFill>
            <a:ln w="25400">
              <a:noFill/>
            </a:ln>
          </c:spPr>
          <c:invertIfNegative val="0"/>
          <c:dPt>
            <c:idx val="4"/>
            <c:invertIfNegative val="0"/>
            <c:bubble3D val="0"/>
            <c:spPr>
              <a:solidFill>
                <a:schemeClr val="accent1"/>
              </a:solidFill>
              <a:ln w="25400">
                <a:noFill/>
              </a:ln>
            </c:spPr>
            <c:extLst>
              <c:ext xmlns:c16="http://schemas.microsoft.com/office/drawing/2014/chart" uri="{C3380CC4-5D6E-409C-BE32-E72D297353CC}">
                <c16:uniqueId val="{00000001-C36B-4D64-ACE7-7569F17C4C42}"/>
              </c:ext>
            </c:extLst>
          </c:dPt>
          <c:dLbls>
            <c:spPr>
              <a:noFill/>
              <a:ln>
                <a:noFill/>
              </a:ln>
              <a:effectLst/>
            </c:spPr>
            <c:txPr>
              <a:bodyPr/>
              <a:lstStyle/>
              <a:p>
                <a:pPr>
                  <a:defRPr sz="1050" b="1">
                    <a:solidFill>
                      <a:schemeClr val="bg1"/>
                    </a:solidFill>
                  </a:defRPr>
                </a:pPr>
                <a:endParaRPr lang="da-DK"/>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EBIT Group bar fy 24'!$K$5:$O$5</c:f>
              <c:numCache>
                <c:formatCode>General</c:formatCode>
                <c:ptCount val="5"/>
                <c:pt idx="0">
                  <c:v>2020</c:v>
                </c:pt>
                <c:pt idx="1">
                  <c:v>2021</c:v>
                </c:pt>
                <c:pt idx="2">
                  <c:v>2022</c:v>
                </c:pt>
                <c:pt idx="3">
                  <c:v>2023</c:v>
                </c:pt>
                <c:pt idx="4">
                  <c:v>2024</c:v>
                </c:pt>
              </c:numCache>
            </c:numRef>
          </c:cat>
          <c:val>
            <c:numRef>
              <c:f>'EBIT Group bar fy 24'!$K$6:$O$6</c:f>
              <c:numCache>
                <c:formatCode>0</c:formatCode>
                <c:ptCount val="5"/>
                <c:pt idx="0">
                  <c:v>741</c:v>
                </c:pt>
                <c:pt idx="1">
                  <c:v>1348</c:v>
                </c:pt>
                <c:pt idx="2" formatCode="#,##0">
                  <c:v>2468</c:v>
                </c:pt>
                <c:pt idx="3" formatCode="#,##0">
                  <c:v>2326</c:v>
                </c:pt>
                <c:pt idx="4" formatCode="#,##0">
                  <c:v>1506</c:v>
                </c:pt>
              </c:numCache>
            </c:numRef>
          </c:val>
          <c:extLst>
            <c:ext xmlns:c16="http://schemas.microsoft.com/office/drawing/2014/chart" uri="{C3380CC4-5D6E-409C-BE32-E72D297353CC}">
              <c16:uniqueId val="{00000002-C36B-4D64-ACE7-7569F17C4C42}"/>
            </c:ext>
          </c:extLst>
        </c:ser>
        <c:dLbls>
          <c:showLegendKey val="0"/>
          <c:showVal val="0"/>
          <c:showCatName val="0"/>
          <c:showSerName val="0"/>
          <c:showPercent val="0"/>
          <c:showBubbleSize val="0"/>
        </c:dLbls>
        <c:gapWidth val="76"/>
        <c:axId val="347676584"/>
        <c:axId val="347678544"/>
      </c:barChart>
      <c:catAx>
        <c:axId val="347676584"/>
        <c:scaling>
          <c:orientation val="minMax"/>
        </c:scaling>
        <c:delete val="0"/>
        <c:axPos val="l"/>
        <c:numFmt formatCode="General" sourceLinked="1"/>
        <c:majorTickMark val="none"/>
        <c:minorTickMark val="none"/>
        <c:tickLblPos val="nextTo"/>
        <c:spPr>
          <a:ln w="3175">
            <a:solidFill>
              <a:srgbClr val="000000"/>
            </a:solidFill>
            <a:prstDash val="solid"/>
          </a:ln>
        </c:spPr>
        <c:txPr>
          <a:bodyPr rot="0" vert="horz"/>
          <a:lstStyle/>
          <a:p>
            <a:pPr>
              <a:defRPr/>
            </a:pPr>
            <a:endParaRPr lang="da-DK"/>
          </a:p>
        </c:txPr>
        <c:crossAx val="347678544"/>
        <c:crosses val="autoZero"/>
        <c:auto val="1"/>
        <c:lblAlgn val="ctr"/>
        <c:lblOffset val="100"/>
        <c:noMultiLvlLbl val="0"/>
      </c:catAx>
      <c:valAx>
        <c:axId val="347678544"/>
        <c:scaling>
          <c:orientation val="minMax"/>
          <c:max val="2500"/>
          <c:min val="0"/>
        </c:scaling>
        <c:delete val="0"/>
        <c:axPos val="b"/>
        <c:majorGridlines>
          <c:spPr>
            <a:ln w="3175">
              <a:solidFill>
                <a:srgbClr val="C0C0C0"/>
              </a:solidFill>
              <a:prstDash val="solid"/>
            </a:ln>
          </c:spPr>
        </c:majorGridlines>
        <c:title>
          <c:tx>
            <c:rich>
              <a:bodyPr rot="0" vert="horz"/>
              <a:lstStyle/>
              <a:p>
                <a:pPr algn="ctr">
                  <a:defRPr/>
                </a:pPr>
                <a:r>
                  <a:rPr lang="da-DK"/>
                  <a:t>DKK m</a:t>
                </a:r>
              </a:p>
            </c:rich>
          </c:tx>
          <c:layout>
            <c:manualLayout>
              <c:xMode val="edge"/>
              <c:yMode val="edge"/>
              <c:x val="2.5402166544109487E-3"/>
              <c:y val="0.11065476311061173"/>
            </c:manualLayout>
          </c:layout>
          <c:overlay val="0"/>
          <c:spPr>
            <a:noFill/>
            <a:ln w="25400">
              <a:noFill/>
            </a:ln>
          </c:spPr>
        </c:title>
        <c:numFmt formatCode="#,##0" sourceLinked="0"/>
        <c:majorTickMark val="out"/>
        <c:minorTickMark val="none"/>
        <c:tickLblPos val="nextTo"/>
        <c:spPr>
          <a:ln w="9525">
            <a:noFill/>
          </a:ln>
        </c:spPr>
        <c:txPr>
          <a:bodyPr rot="0" vert="horz"/>
          <a:lstStyle/>
          <a:p>
            <a:pPr>
              <a:defRPr/>
            </a:pPr>
            <a:endParaRPr lang="da-DK"/>
          </a:p>
        </c:txPr>
        <c:crossAx val="347676584"/>
        <c:crosses val="autoZero"/>
        <c:crossBetween val="between"/>
      </c:valAx>
      <c:spPr>
        <a:noFill/>
        <a:ln w="25400">
          <a:noFill/>
        </a:ln>
      </c:spPr>
    </c:plotArea>
    <c:plotVisOnly val="1"/>
    <c:dispBlanksAs val="gap"/>
    <c:showDLblsOverMax val="0"/>
  </c:chart>
  <c:spPr>
    <a:noFill/>
    <a:ln w="9525">
      <a:noFill/>
    </a:ln>
  </c:spPr>
  <c:txPr>
    <a:bodyPr/>
    <a:lstStyle/>
    <a:p>
      <a:pPr>
        <a:defRPr sz="800" b="0" i="0" u="none" strike="noStrike" baseline="0">
          <a:solidFill>
            <a:sysClr val="windowText" lastClr="000000"/>
          </a:solidFill>
          <a:latin typeface="DFDS Sans Offc" panose="00000500000000000000" pitchFamily="2" charset="0"/>
          <a:ea typeface="DFDS Light"/>
          <a:cs typeface="DFDS Light"/>
        </a:defRPr>
      </a:pPr>
      <a:endParaRPr lang="da-DK"/>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050" b="1"/>
            </a:pPr>
            <a:r>
              <a:rPr lang="da-DK" sz="1050" b="1"/>
              <a:t>EBIT full-year 2024 development vs LY </a:t>
            </a:r>
          </a:p>
        </c:rich>
      </c:tx>
      <c:layout>
        <c:manualLayout>
          <c:xMode val="edge"/>
          <c:yMode val="edge"/>
          <c:x val="0.32227103272447827"/>
          <c:y val="2.3491996899731925E-2"/>
        </c:manualLayout>
      </c:layout>
      <c:overlay val="0"/>
      <c:spPr>
        <a:noFill/>
        <a:ln w="25400">
          <a:noFill/>
        </a:ln>
      </c:spPr>
    </c:title>
    <c:autoTitleDeleted val="0"/>
    <c:plotArea>
      <c:layout>
        <c:manualLayout>
          <c:layoutTarget val="inner"/>
          <c:xMode val="edge"/>
          <c:yMode val="edge"/>
          <c:x val="6.2560412574979629E-2"/>
          <c:y val="0.18499341393675237"/>
          <c:w val="0.90512342422971004"/>
          <c:h val="0.69254697255271525"/>
        </c:manualLayout>
      </c:layout>
      <c:barChart>
        <c:barDir val="col"/>
        <c:grouping val="stacked"/>
        <c:varyColors val="0"/>
        <c:ser>
          <c:idx val="1"/>
          <c:order val="0"/>
          <c:spPr>
            <a:noFill/>
          </c:spPr>
          <c:invertIfNegative val="0"/>
          <c:dPt>
            <c:idx val="4"/>
            <c:invertIfNegative val="0"/>
            <c:bubble3D val="0"/>
            <c:spPr>
              <a:solidFill>
                <a:schemeClr val="accent1"/>
              </a:solidFill>
            </c:spPr>
            <c:extLst>
              <c:ext xmlns:c16="http://schemas.microsoft.com/office/drawing/2014/chart" uri="{C3380CC4-5D6E-409C-BE32-E72D297353CC}">
                <c16:uniqueId val="{00000001-DBE4-4E52-A13B-CF1CDE231556}"/>
              </c:ext>
            </c:extLst>
          </c:dPt>
          <c:dPt>
            <c:idx val="8"/>
            <c:invertIfNegative val="0"/>
            <c:bubble3D val="0"/>
            <c:spPr>
              <a:noFill/>
              <a:ln w="12700">
                <a:noFill/>
                <a:prstDash val="solid"/>
              </a:ln>
            </c:spPr>
            <c:extLst>
              <c:ext xmlns:c16="http://schemas.microsoft.com/office/drawing/2014/chart" uri="{C3380CC4-5D6E-409C-BE32-E72D297353CC}">
                <c16:uniqueId val="{00000003-DBE4-4E52-A13B-CF1CDE231556}"/>
              </c:ext>
            </c:extLst>
          </c:dPt>
          <c:dPt>
            <c:idx val="9"/>
            <c:invertIfNegative val="0"/>
            <c:bubble3D val="0"/>
            <c:spPr>
              <a:noFill/>
              <a:ln w="12700">
                <a:noFill/>
                <a:prstDash val="solid"/>
              </a:ln>
            </c:spPr>
            <c:extLst>
              <c:ext xmlns:c16="http://schemas.microsoft.com/office/drawing/2014/chart" uri="{C3380CC4-5D6E-409C-BE32-E72D297353CC}">
                <c16:uniqueId val="{00000005-DBE4-4E52-A13B-CF1CDE231556}"/>
              </c:ext>
            </c:extLst>
          </c:dPt>
          <c:dPt>
            <c:idx val="10"/>
            <c:invertIfNegative val="0"/>
            <c:bubble3D val="0"/>
            <c:spPr>
              <a:noFill/>
              <a:ln w="12700">
                <a:noFill/>
                <a:prstDash val="solid"/>
              </a:ln>
            </c:spPr>
            <c:extLst>
              <c:ext xmlns:c16="http://schemas.microsoft.com/office/drawing/2014/chart" uri="{C3380CC4-5D6E-409C-BE32-E72D297353CC}">
                <c16:uniqueId val="{00000007-DBE4-4E52-A13B-CF1CDE231556}"/>
              </c:ext>
            </c:extLst>
          </c:dPt>
          <c:dLbls>
            <c:dLbl>
              <c:idx val="4"/>
              <c:layout>
                <c:manualLayout>
                  <c:x val="-1.9864835483917567E-3"/>
                  <c:y val="-1.151704095840643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BE4-4E52-A13B-CF1CDE231556}"/>
                </c:ext>
              </c:extLst>
            </c:dLbl>
            <c:spPr>
              <a:noFill/>
              <a:ln>
                <a:noFill/>
              </a:ln>
              <a:effectLst/>
            </c:spPr>
            <c:txPr>
              <a:bodyPr anchorCtr="0"/>
              <a:lstStyle/>
              <a:p>
                <a:pPr algn="ctr">
                  <a:defRPr lang="en-US" sz="1050" b="1" i="0" u="none" strike="noStrike" kern="1200" baseline="0">
                    <a:solidFill>
                      <a:schemeClr val="bg1"/>
                    </a:solidFill>
                    <a:latin typeface="DFDS Sans Offc" panose="00000500000000000000" pitchFamily="2" charset="0"/>
                    <a:ea typeface="Arial"/>
                    <a:cs typeface="Arial"/>
                  </a:defRPr>
                </a:pPr>
                <a:endParaRPr lang="da-DK"/>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ebit wf fy'!$M$12:$Q$12</c:f>
              <c:strCache>
                <c:ptCount val="5"/>
                <c:pt idx="0">
                  <c:v>2023</c:v>
                </c:pt>
                <c:pt idx="1">
                  <c:v>Ferry</c:v>
                </c:pt>
                <c:pt idx="2">
                  <c:v>Logistics</c:v>
                </c:pt>
                <c:pt idx="3">
                  <c:v>Non-allocated</c:v>
                </c:pt>
                <c:pt idx="4">
                  <c:v>2024</c:v>
                </c:pt>
              </c:strCache>
            </c:strRef>
          </c:cat>
          <c:val>
            <c:numRef>
              <c:f>'ebit wf fy'!$M$13:$Q$13</c:f>
              <c:numCache>
                <c:formatCode>0</c:formatCode>
                <c:ptCount val="5"/>
                <c:pt idx="1">
                  <c:v>1752</c:v>
                </c:pt>
                <c:pt idx="2">
                  <c:v>1483</c:v>
                </c:pt>
                <c:pt idx="3">
                  <c:v>1483</c:v>
                </c:pt>
                <c:pt idx="4" formatCode="#,##0">
                  <c:v>1506</c:v>
                </c:pt>
              </c:numCache>
            </c:numRef>
          </c:val>
          <c:extLst>
            <c:ext xmlns:c16="http://schemas.microsoft.com/office/drawing/2014/chart" uri="{C3380CC4-5D6E-409C-BE32-E72D297353CC}">
              <c16:uniqueId val="{00000008-DBE4-4E52-A13B-CF1CDE231556}"/>
            </c:ext>
          </c:extLst>
        </c:ser>
        <c:ser>
          <c:idx val="2"/>
          <c:order val="1"/>
          <c:invertIfNegative val="0"/>
          <c:dPt>
            <c:idx val="0"/>
            <c:invertIfNegative val="0"/>
            <c:bubble3D val="0"/>
            <c:spPr>
              <a:solidFill>
                <a:schemeClr val="accent1"/>
              </a:solidFill>
            </c:spPr>
            <c:extLst>
              <c:ext xmlns:c16="http://schemas.microsoft.com/office/drawing/2014/chart" uri="{C3380CC4-5D6E-409C-BE32-E72D297353CC}">
                <c16:uniqueId val="{0000000A-DBE4-4E52-A13B-CF1CDE231556}"/>
              </c:ext>
            </c:extLst>
          </c:dPt>
          <c:dPt>
            <c:idx val="1"/>
            <c:invertIfNegative val="0"/>
            <c:bubble3D val="0"/>
            <c:spPr>
              <a:solidFill>
                <a:schemeClr val="accent5">
                  <a:lumMod val="90000"/>
                </a:schemeClr>
              </a:solidFill>
            </c:spPr>
            <c:extLst>
              <c:ext xmlns:c16="http://schemas.microsoft.com/office/drawing/2014/chart" uri="{C3380CC4-5D6E-409C-BE32-E72D297353CC}">
                <c16:uniqueId val="{0000000C-DBE4-4E52-A13B-CF1CDE231556}"/>
              </c:ext>
            </c:extLst>
          </c:dPt>
          <c:dPt>
            <c:idx val="2"/>
            <c:invertIfNegative val="0"/>
            <c:bubble3D val="0"/>
            <c:spPr>
              <a:solidFill>
                <a:schemeClr val="accent5">
                  <a:lumMod val="90000"/>
                </a:schemeClr>
              </a:solidFill>
            </c:spPr>
            <c:extLst>
              <c:ext xmlns:c16="http://schemas.microsoft.com/office/drawing/2014/chart" uri="{C3380CC4-5D6E-409C-BE32-E72D297353CC}">
                <c16:uniqueId val="{0000000E-DBE4-4E52-A13B-CF1CDE231556}"/>
              </c:ext>
            </c:extLst>
          </c:dPt>
          <c:dPt>
            <c:idx val="3"/>
            <c:invertIfNegative val="0"/>
            <c:bubble3D val="0"/>
            <c:spPr>
              <a:solidFill>
                <a:schemeClr val="accent3"/>
              </a:solidFill>
            </c:spPr>
            <c:extLst>
              <c:ext xmlns:c16="http://schemas.microsoft.com/office/drawing/2014/chart" uri="{C3380CC4-5D6E-409C-BE32-E72D297353CC}">
                <c16:uniqueId val="{0000000F-DBE4-4E52-A13B-CF1CDE231556}"/>
              </c:ext>
            </c:extLst>
          </c:dPt>
          <c:dLbls>
            <c:dLbl>
              <c:idx val="1"/>
              <c:tx>
                <c:rich>
                  <a:bodyPr/>
                  <a:lstStyle/>
                  <a:p>
                    <a:r>
                      <a:rPr lang="en-US"/>
                      <a:t>-</a:t>
                    </a:r>
                    <a:fld id="{011D7B9A-725A-4A27-9FF6-831A76121355}" type="VALUE">
                      <a:rPr lang="en-US"/>
                      <a:pPr/>
                      <a:t>[VALUE]</a:t>
                    </a:fld>
                    <a:endParaRPr 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C-DBE4-4E52-A13B-CF1CDE231556}"/>
                </c:ext>
              </c:extLst>
            </c:dLbl>
            <c:dLbl>
              <c:idx val="2"/>
              <c:tx>
                <c:rich>
                  <a:bodyPr/>
                  <a:lstStyle/>
                  <a:p>
                    <a:r>
                      <a:rPr lang="en-US"/>
                      <a:t>-</a:t>
                    </a:r>
                    <a:fld id="{0CB9943C-3944-47B5-AE65-525423D2D343}" type="VALUE">
                      <a:rPr lang="en-US"/>
                      <a:pPr/>
                      <a:t>[VALUE]</a:t>
                    </a:fld>
                    <a:endParaRPr 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E-DBE4-4E52-A13B-CF1CDE231556}"/>
                </c:ext>
              </c:extLst>
            </c:dLbl>
            <c:dLbl>
              <c:idx val="3"/>
              <c:layout>
                <c:manualLayout>
                  <c:x val="0"/>
                  <c:y val="-5.926329524364835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DBE4-4E52-A13B-CF1CDE231556}"/>
                </c:ext>
              </c:extLst>
            </c:dLbl>
            <c:spPr>
              <a:noFill/>
              <a:ln>
                <a:noFill/>
              </a:ln>
              <a:effectLst/>
            </c:spPr>
            <c:txPr>
              <a:bodyPr/>
              <a:lstStyle/>
              <a:p>
                <a:pPr algn="ctr">
                  <a:defRPr sz="1050" b="1"/>
                </a:pPr>
                <a:endParaRPr lang="da-DK"/>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ebit wf fy'!$M$12:$Q$12</c:f>
              <c:strCache>
                <c:ptCount val="5"/>
                <c:pt idx="0">
                  <c:v>2023</c:v>
                </c:pt>
                <c:pt idx="1">
                  <c:v>Ferry</c:v>
                </c:pt>
                <c:pt idx="2">
                  <c:v>Logistics</c:v>
                </c:pt>
                <c:pt idx="3">
                  <c:v>Non-allocated</c:v>
                </c:pt>
                <c:pt idx="4">
                  <c:v>2024</c:v>
                </c:pt>
              </c:strCache>
            </c:strRef>
          </c:cat>
          <c:val>
            <c:numRef>
              <c:f>'ebit wf fy'!$M$14:$Q$14</c:f>
              <c:numCache>
                <c:formatCode>0</c:formatCode>
                <c:ptCount val="5"/>
                <c:pt idx="0" formatCode="#,##0">
                  <c:v>2326</c:v>
                </c:pt>
                <c:pt idx="1">
                  <c:v>574</c:v>
                </c:pt>
                <c:pt idx="2">
                  <c:v>269</c:v>
                </c:pt>
                <c:pt idx="3">
                  <c:v>23</c:v>
                </c:pt>
              </c:numCache>
            </c:numRef>
          </c:val>
          <c:extLst>
            <c:ext xmlns:c16="http://schemas.microsoft.com/office/drawing/2014/chart" uri="{C3380CC4-5D6E-409C-BE32-E72D297353CC}">
              <c16:uniqueId val="{00000010-DBE4-4E52-A13B-CF1CDE231556}"/>
            </c:ext>
          </c:extLst>
        </c:ser>
        <c:ser>
          <c:idx val="0"/>
          <c:order val="2"/>
          <c:spPr>
            <a:solidFill>
              <a:srgbClr val="00B0F0"/>
            </a:solidFill>
          </c:spPr>
          <c:invertIfNegative val="0"/>
          <c:dPt>
            <c:idx val="3"/>
            <c:invertIfNegative val="0"/>
            <c:bubble3D val="0"/>
            <c:spPr>
              <a:solidFill>
                <a:srgbClr val="0070C0"/>
              </a:solidFill>
            </c:spPr>
            <c:extLst>
              <c:ext xmlns:c16="http://schemas.microsoft.com/office/drawing/2014/chart" uri="{C3380CC4-5D6E-409C-BE32-E72D297353CC}">
                <c16:uniqueId val="{00000012-DBE4-4E52-A13B-CF1CDE231556}"/>
              </c:ext>
            </c:extLst>
          </c:dPt>
          <c:dLbls>
            <c:delete val="1"/>
          </c:dLbls>
          <c:cat>
            <c:strRef>
              <c:f>'ebit wf fy'!$M$12:$Q$12</c:f>
              <c:strCache>
                <c:ptCount val="5"/>
                <c:pt idx="0">
                  <c:v>2023</c:v>
                </c:pt>
                <c:pt idx="1">
                  <c:v>Ferry</c:v>
                </c:pt>
                <c:pt idx="2">
                  <c:v>Logistics</c:v>
                </c:pt>
                <c:pt idx="3">
                  <c:v>Non-allocated</c:v>
                </c:pt>
                <c:pt idx="4">
                  <c:v>2024</c:v>
                </c:pt>
              </c:strCache>
            </c:strRef>
          </c:cat>
          <c:val>
            <c:numRef>
              <c:f>'ebit wf fy'!$M$15:$Q$15</c:f>
              <c:numCache>
                <c:formatCode>General</c:formatCode>
                <c:ptCount val="5"/>
              </c:numCache>
            </c:numRef>
          </c:val>
          <c:extLst>
            <c:ext xmlns:c16="http://schemas.microsoft.com/office/drawing/2014/chart" uri="{C3380CC4-5D6E-409C-BE32-E72D297353CC}">
              <c16:uniqueId val="{00000013-DBE4-4E52-A13B-CF1CDE231556}"/>
            </c:ext>
          </c:extLst>
        </c:ser>
        <c:dLbls>
          <c:showLegendKey val="0"/>
          <c:showVal val="1"/>
          <c:showCatName val="0"/>
          <c:showSerName val="0"/>
          <c:showPercent val="0"/>
          <c:showBubbleSize val="0"/>
        </c:dLbls>
        <c:gapWidth val="23"/>
        <c:overlap val="100"/>
        <c:axId val="526143232"/>
        <c:axId val="527457512"/>
        <c:extLst/>
      </c:barChart>
      <c:catAx>
        <c:axId val="526143232"/>
        <c:scaling>
          <c:orientation val="minMax"/>
        </c:scaling>
        <c:delete val="0"/>
        <c:axPos val="b"/>
        <c:numFmt formatCode="General" sourceLinked="1"/>
        <c:majorTickMark val="out"/>
        <c:minorTickMark val="none"/>
        <c:tickLblPos val="low"/>
        <c:spPr>
          <a:ln w="3175">
            <a:solidFill>
              <a:srgbClr val="000000"/>
            </a:solidFill>
            <a:prstDash val="solid"/>
          </a:ln>
        </c:spPr>
        <c:txPr>
          <a:bodyPr rot="0" vert="horz"/>
          <a:lstStyle/>
          <a:p>
            <a:pPr>
              <a:defRPr sz="900"/>
            </a:pPr>
            <a:endParaRPr lang="da-DK"/>
          </a:p>
        </c:txPr>
        <c:crossAx val="527457512"/>
        <c:crosses val="autoZero"/>
        <c:auto val="1"/>
        <c:lblAlgn val="ctr"/>
        <c:lblOffset val="100"/>
        <c:tickLblSkip val="1"/>
        <c:tickMarkSkip val="1"/>
        <c:noMultiLvlLbl val="0"/>
      </c:catAx>
      <c:valAx>
        <c:axId val="527457512"/>
        <c:scaling>
          <c:orientation val="minMax"/>
          <c:max val="2500"/>
          <c:min val="1250"/>
        </c:scaling>
        <c:delete val="0"/>
        <c:axPos val="l"/>
        <c:majorGridlines>
          <c:spPr>
            <a:ln w="3175">
              <a:noFill/>
              <a:prstDash val="solid"/>
            </a:ln>
          </c:spPr>
        </c:majorGridlines>
        <c:title>
          <c:tx>
            <c:rich>
              <a:bodyPr rot="0" vert="horz"/>
              <a:lstStyle/>
              <a:p>
                <a:pPr>
                  <a:defRPr/>
                </a:pPr>
                <a:r>
                  <a:rPr lang="da-DK"/>
                  <a:t>DKK m</a:t>
                </a:r>
              </a:p>
            </c:rich>
          </c:tx>
          <c:layout>
            <c:manualLayout>
              <c:xMode val="edge"/>
              <c:yMode val="edge"/>
              <c:x val="7.1092018654824146E-4"/>
              <c:y val="7.4657779050964365E-2"/>
            </c:manualLayout>
          </c:layout>
          <c:overlay val="0"/>
          <c:spPr>
            <a:noFill/>
            <a:ln w="25400">
              <a:noFill/>
            </a:ln>
          </c:spPr>
        </c:title>
        <c:numFmt formatCode="#,##0" sourceLinked="0"/>
        <c:majorTickMark val="out"/>
        <c:minorTickMark val="none"/>
        <c:tickLblPos val="nextTo"/>
        <c:spPr>
          <a:ln w="9525">
            <a:noFill/>
          </a:ln>
        </c:spPr>
        <c:txPr>
          <a:bodyPr rot="0" vert="horz"/>
          <a:lstStyle/>
          <a:p>
            <a:pPr>
              <a:defRPr/>
            </a:pPr>
            <a:endParaRPr lang="da-DK"/>
          </a:p>
        </c:txPr>
        <c:crossAx val="526143232"/>
        <c:crosses val="autoZero"/>
        <c:crossBetween val="between"/>
        <c:majorUnit val="250"/>
      </c:valAx>
      <c:spPr>
        <a:noFill/>
        <a:ln w="25400">
          <a:noFill/>
        </a:ln>
      </c:spPr>
    </c:plotArea>
    <c:plotVisOnly val="1"/>
    <c:dispBlanksAs val="gap"/>
    <c:showDLblsOverMax val="0"/>
  </c:chart>
  <c:spPr>
    <a:noFill/>
    <a:ln w="9525">
      <a:noFill/>
    </a:ln>
  </c:spPr>
  <c:txPr>
    <a:bodyPr/>
    <a:lstStyle/>
    <a:p>
      <a:pPr>
        <a:defRPr sz="800" b="0" i="0" u="none" strike="noStrike" baseline="0">
          <a:solidFill>
            <a:schemeClr val="bg1"/>
          </a:solidFill>
          <a:latin typeface="DFDS Sans Offc" panose="00000500000000000000" pitchFamily="2" charset="0"/>
          <a:ea typeface="Arial"/>
          <a:cs typeface="Arial"/>
        </a:defRPr>
      </a:pPr>
      <a:endParaRPr lang="da-DK"/>
    </a:p>
  </c:txPr>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261ADCD-0986-466F-BCF4-F1403744020F}"/>
              </a:ext>
            </a:extLst>
          </p:cNvPr>
          <p:cNvSpPr>
            <a:spLocks noGrp="1"/>
          </p:cNvSpPr>
          <p:nvPr>
            <p:ph type="hdr" sz="quarter"/>
          </p:nvPr>
        </p:nvSpPr>
        <p:spPr>
          <a:xfrm>
            <a:off x="1" y="0"/>
            <a:ext cx="2914015" cy="490409"/>
          </a:xfrm>
          <a:prstGeom prst="rect">
            <a:avLst/>
          </a:prstGeom>
        </p:spPr>
        <p:txBody>
          <a:bodyPr vert="horz" lIns="91429" tIns="45714" rIns="91429" bIns="45714" rtlCol="0"/>
          <a:lstStyle>
            <a:lvl1pPr algn="l">
              <a:defRPr sz="1200"/>
            </a:lvl1pPr>
          </a:lstStyle>
          <a:p>
            <a:endParaRPr lang="en-GB"/>
          </a:p>
        </p:txBody>
      </p:sp>
      <p:sp>
        <p:nvSpPr>
          <p:cNvPr id="3" name="Date Placeholder 2">
            <a:extLst>
              <a:ext uri="{FF2B5EF4-FFF2-40B4-BE49-F238E27FC236}">
                <a16:creationId xmlns:a16="http://schemas.microsoft.com/office/drawing/2014/main" id="{6FAD45B1-DDA3-4823-B57F-398ED6D7CE50}"/>
              </a:ext>
            </a:extLst>
          </p:cNvPr>
          <p:cNvSpPr>
            <a:spLocks noGrp="1"/>
          </p:cNvSpPr>
          <p:nvPr>
            <p:ph type="dt" sz="quarter" idx="1"/>
          </p:nvPr>
        </p:nvSpPr>
        <p:spPr>
          <a:xfrm>
            <a:off x="3809079" y="0"/>
            <a:ext cx="2914015" cy="490409"/>
          </a:xfrm>
          <a:prstGeom prst="rect">
            <a:avLst/>
          </a:prstGeom>
        </p:spPr>
        <p:txBody>
          <a:bodyPr vert="horz" lIns="91429" tIns="45714" rIns="91429" bIns="45714" rtlCol="0"/>
          <a:lstStyle>
            <a:lvl1pPr algn="r">
              <a:defRPr sz="1200"/>
            </a:lvl1pPr>
          </a:lstStyle>
          <a:p>
            <a:fld id="{6D6B4489-0F4E-4CC0-A02D-07E5861CA543}" type="datetime1">
              <a:rPr lang="en-GB" smtClean="0"/>
              <a:t>20/02/2025</a:t>
            </a:fld>
            <a:endParaRPr lang="en-GB"/>
          </a:p>
        </p:txBody>
      </p:sp>
      <p:sp>
        <p:nvSpPr>
          <p:cNvPr id="4" name="Slide Number Placeholder 3">
            <a:extLst>
              <a:ext uri="{FF2B5EF4-FFF2-40B4-BE49-F238E27FC236}">
                <a16:creationId xmlns:a16="http://schemas.microsoft.com/office/drawing/2014/main" id="{7A3B3C53-DC75-4A5C-81E7-5D7CB96E1298}"/>
              </a:ext>
            </a:extLst>
          </p:cNvPr>
          <p:cNvSpPr>
            <a:spLocks noGrp="1"/>
          </p:cNvSpPr>
          <p:nvPr>
            <p:ph type="sldNum" sz="quarter" idx="3"/>
          </p:nvPr>
        </p:nvSpPr>
        <p:spPr>
          <a:xfrm>
            <a:off x="3809079" y="9283830"/>
            <a:ext cx="2914015" cy="490408"/>
          </a:xfrm>
          <a:prstGeom prst="rect">
            <a:avLst/>
          </a:prstGeom>
        </p:spPr>
        <p:txBody>
          <a:bodyPr vert="horz" lIns="91429" tIns="45714" rIns="91429" bIns="45714" rtlCol="0" anchor="b"/>
          <a:lstStyle>
            <a:lvl1pPr algn="r">
              <a:defRPr sz="1200"/>
            </a:lvl1pPr>
          </a:lstStyle>
          <a:p>
            <a:fld id="{C5BF6EE6-6533-46A0-A8FB-DBC252423243}" type="slidenum">
              <a:rPr lang="en-GB" smtClean="0"/>
              <a:t>‹#›</a:t>
            </a:fld>
            <a:endParaRPr lang="en-GB"/>
          </a:p>
        </p:txBody>
      </p:sp>
      <p:sp>
        <p:nvSpPr>
          <p:cNvPr id="5" name="Footer Placeholder 4">
            <a:extLst>
              <a:ext uri="{FF2B5EF4-FFF2-40B4-BE49-F238E27FC236}">
                <a16:creationId xmlns:a16="http://schemas.microsoft.com/office/drawing/2014/main" id="{9891B013-C79C-4BAB-9591-CE1E1BF2A98D}"/>
              </a:ext>
            </a:extLst>
          </p:cNvPr>
          <p:cNvSpPr>
            <a:spLocks noGrp="1"/>
          </p:cNvSpPr>
          <p:nvPr>
            <p:ph type="ftr" sz="quarter" idx="2"/>
          </p:nvPr>
        </p:nvSpPr>
        <p:spPr>
          <a:xfrm>
            <a:off x="1" y="9283830"/>
            <a:ext cx="2914015" cy="490408"/>
          </a:xfrm>
          <a:prstGeom prst="rect">
            <a:avLst/>
          </a:prstGeom>
        </p:spPr>
        <p:txBody>
          <a:bodyPr vert="horz" lIns="91429" tIns="45714" rIns="91429" bIns="45714" rtlCol="0" anchor="b"/>
          <a:lstStyle>
            <a:lvl1pPr algn="l">
              <a:defRPr sz="1200"/>
            </a:lvl1pPr>
          </a:lstStyle>
          <a:p>
            <a:endParaRPr lang="en-GB"/>
          </a:p>
        </p:txBody>
      </p:sp>
    </p:spTree>
    <p:extLst>
      <p:ext uri="{BB962C8B-B14F-4D97-AF65-F5344CB8AC3E}">
        <p14:creationId xmlns:p14="http://schemas.microsoft.com/office/powerpoint/2010/main" val="1394799716"/>
      </p:ext>
    </p:extLst>
  </p:cSld>
  <p:clrMap bg1="lt1" tx1="dk1" bg2="lt2" tx2="dk2" accent1="accent1" accent2="accent2" accent3="accent3" accent4="accent4" accent5="accent5" accent6="accent6" hlink="hlink" folHlink="folHlink"/>
  <p:hf/>
  <p:extLst>
    <p:ext uri="{56416CCD-93CA-4268-BC5B-53C4BB910035}">
      <p15:sldGuideLst xmlns:p15="http://schemas.microsoft.com/office/powerpoint/2012/main">
        <p15:guide id="1" orient="horz" pos="3079" userDrawn="1">
          <p15:clr>
            <a:srgbClr val="F26B43"/>
          </p15:clr>
        </p15:guide>
        <p15:guide id="2" pos="2119"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7838611-CB23-4A11-B466-01829FB3E64B}"/>
              </a:ext>
            </a:extLst>
          </p:cNvPr>
          <p:cNvSpPr>
            <a:spLocks noGrp="1"/>
          </p:cNvSpPr>
          <p:nvPr>
            <p:ph type="sldNum" sz="quarter" idx="5"/>
          </p:nvPr>
        </p:nvSpPr>
        <p:spPr>
          <a:xfrm>
            <a:off x="3809079" y="9283830"/>
            <a:ext cx="2914015" cy="490408"/>
          </a:xfrm>
          <a:prstGeom prst="rect">
            <a:avLst/>
          </a:prstGeom>
        </p:spPr>
        <p:txBody>
          <a:bodyPr vert="horz" lIns="91429" tIns="45714" rIns="91429" bIns="45714" rtlCol="0" anchor="b"/>
          <a:lstStyle>
            <a:lvl1pPr algn="r">
              <a:defRPr sz="1200"/>
            </a:lvl1pPr>
          </a:lstStyle>
          <a:p>
            <a:fld id="{1B1D025B-ACD2-45C1-B156-1DDB470CE319}" type="slidenum">
              <a:rPr lang="en-GB" smtClean="0"/>
              <a:t>‹#›</a:t>
            </a:fld>
            <a:endParaRPr lang="en-GB"/>
          </a:p>
        </p:txBody>
      </p:sp>
      <p:sp>
        <p:nvSpPr>
          <p:cNvPr id="3" name="Notes Placeholder 2">
            <a:extLst>
              <a:ext uri="{FF2B5EF4-FFF2-40B4-BE49-F238E27FC236}">
                <a16:creationId xmlns:a16="http://schemas.microsoft.com/office/drawing/2014/main" id="{05F8BE06-C1AD-4FF4-9212-678516BAB917}"/>
              </a:ext>
            </a:extLst>
          </p:cNvPr>
          <p:cNvSpPr>
            <a:spLocks noGrp="1"/>
          </p:cNvSpPr>
          <p:nvPr>
            <p:ph type="body" sz="quarter" idx="3"/>
          </p:nvPr>
        </p:nvSpPr>
        <p:spPr>
          <a:xfrm>
            <a:off x="672465" y="4703852"/>
            <a:ext cx="5379720" cy="3848606"/>
          </a:xfrm>
          <a:prstGeom prst="rect">
            <a:avLst/>
          </a:prstGeom>
        </p:spPr>
        <p:txBody>
          <a:bodyPr vert="horz" lIns="91429" tIns="45714" rIns="91429" bIns="45714"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D410225-CB48-4A2A-9739-463AD2DBC317}"/>
              </a:ext>
            </a:extLst>
          </p:cNvPr>
          <p:cNvSpPr>
            <a:spLocks noGrp="1"/>
          </p:cNvSpPr>
          <p:nvPr>
            <p:ph type="dt" idx="1"/>
          </p:nvPr>
        </p:nvSpPr>
        <p:spPr>
          <a:xfrm>
            <a:off x="3809079" y="0"/>
            <a:ext cx="2914015" cy="490409"/>
          </a:xfrm>
          <a:prstGeom prst="rect">
            <a:avLst/>
          </a:prstGeom>
        </p:spPr>
        <p:txBody>
          <a:bodyPr vert="horz" lIns="91429" tIns="45714" rIns="91429" bIns="45714" rtlCol="0"/>
          <a:lstStyle>
            <a:lvl1pPr algn="r">
              <a:defRPr sz="1200"/>
            </a:lvl1pPr>
          </a:lstStyle>
          <a:p>
            <a:fld id="{C9300C6C-A965-48F8-A587-9F400A86BA24}" type="datetime1">
              <a:rPr lang="en-GB" smtClean="0"/>
              <a:t>20/02/2025</a:t>
            </a:fld>
            <a:endParaRPr lang="en-GB"/>
          </a:p>
        </p:txBody>
      </p:sp>
      <p:sp>
        <p:nvSpPr>
          <p:cNvPr id="5" name="Header Placeholder 4">
            <a:extLst>
              <a:ext uri="{FF2B5EF4-FFF2-40B4-BE49-F238E27FC236}">
                <a16:creationId xmlns:a16="http://schemas.microsoft.com/office/drawing/2014/main" id="{668863D3-1D0C-412C-99BB-873840116AC5}"/>
              </a:ext>
            </a:extLst>
          </p:cNvPr>
          <p:cNvSpPr>
            <a:spLocks noGrp="1"/>
          </p:cNvSpPr>
          <p:nvPr>
            <p:ph type="hdr" sz="quarter"/>
          </p:nvPr>
        </p:nvSpPr>
        <p:spPr>
          <a:xfrm>
            <a:off x="1" y="0"/>
            <a:ext cx="2914015" cy="490409"/>
          </a:xfrm>
          <a:prstGeom prst="rect">
            <a:avLst/>
          </a:prstGeom>
        </p:spPr>
        <p:txBody>
          <a:bodyPr vert="horz" lIns="91429" tIns="45714" rIns="91429" bIns="45714" rtlCol="0"/>
          <a:lstStyle>
            <a:lvl1pPr algn="l">
              <a:defRPr sz="1200"/>
            </a:lvl1pPr>
          </a:lstStyle>
          <a:p>
            <a:endParaRPr lang="en-GB"/>
          </a:p>
        </p:txBody>
      </p:sp>
      <p:sp>
        <p:nvSpPr>
          <p:cNvPr id="6" name="Slide Image Placeholder 5">
            <a:extLst>
              <a:ext uri="{FF2B5EF4-FFF2-40B4-BE49-F238E27FC236}">
                <a16:creationId xmlns:a16="http://schemas.microsoft.com/office/drawing/2014/main" id="{5E44B7E2-ED93-42BE-81A6-FE398D91C198}"/>
              </a:ext>
            </a:extLst>
          </p:cNvPr>
          <p:cNvSpPr>
            <a:spLocks noGrp="1" noRot="1" noChangeAspect="1"/>
          </p:cNvSpPr>
          <p:nvPr>
            <p:ph type="sldImg" idx="2"/>
          </p:nvPr>
        </p:nvSpPr>
        <p:spPr>
          <a:xfrm>
            <a:off x="430213" y="1222375"/>
            <a:ext cx="5864225" cy="3298825"/>
          </a:xfrm>
          <a:prstGeom prst="rect">
            <a:avLst/>
          </a:prstGeom>
          <a:noFill/>
          <a:ln w="12700">
            <a:solidFill>
              <a:prstClr val="black"/>
            </a:solidFill>
          </a:ln>
        </p:spPr>
        <p:txBody>
          <a:bodyPr vert="horz" lIns="91429" tIns="45714" rIns="91429" bIns="45714" rtlCol="0" anchor="ctr"/>
          <a:lstStyle/>
          <a:p>
            <a:endParaRPr lang="en-GB"/>
          </a:p>
        </p:txBody>
      </p:sp>
      <p:sp>
        <p:nvSpPr>
          <p:cNvPr id="7" name="Footer Placeholder 6">
            <a:extLst>
              <a:ext uri="{FF2B5EF4-FFF2-40B4-BE49-F238E27FC236}">
                <a16:creationId xmlns:a16="http://schemas.microsoft.com/office/drawing/2014/main" id="{75691570-C65F-4C66-9CB2-8798BF7E897F}"/>
              </a:ext>
            </a:extLst>
          </p:cNvPr>
          <p:cNvSpPr>
            <a:spLocks noGrp="1"/>
          </p:cNvSpPr>
          <p:nvPr>
            <p:ph type="ftr" sz="quarter" idx="4"/>
          </p:nvPr>
        </p:nvSpPr>
        <p:spPr>
          <a:xfrm>
            <a:off x="1" y="9283830"/>
            <a:ext cx="2914015" cy="490408"/>
          </a:xfrm>
          <a:prstGeom prst="rect">
            <a:avLst/>
          </a:prstGeom>
        </p:spPr>
        <p:txBody>
          <a:bodyPr vert="horz" lIns="91429" tIns="45714" rIns="91429" bIns="45714" rtlCol="0" anchor="b"/>
          <a:lstStyle>
            <a:lvl1pPr algn="l">
              <a:defRPr sz="1200"/>
            </a:lvl1pPr>
          </a:lstStyle>
          <a:p>
            <a:endParaRPr lang="en-GB"/>
          </a:p>
        </p:txBody>
      </p:sp>
    </p:spTree>
    <p:extLst>
      <p:ext uri="{BB962C8B-B14F-4D97-AF65-F5344CB8AC3E}">
        <p14:creationId xmlns:p14="http://schemas.microsoft.com/office/powerpoint/2010/main" val="1200601147"/>
      </p:ext>
    </p:extLst>
  </p:cSld>
  <p:clrMap bg1="lt1" tx1="dk1" bg2="lt2" tx2="dk2" accent1="accent1" accent2="accent2" accent3="accent3" accent4="accent4" accent5="accent5" accent6="accent6" hlink="hlink" folHlink="folHlink"/>
  <p:hf/>
  <p:notesStyle>
    <a:lvl1pPr marL="0" indent="0" algn="l" defTabSz="914400" rtl="0" eaLnBrk="1" latinLnBrk="0" hangingPunct="1">
      <a:buFont typeface="DFDS Sans" panose="00000500000000000000" pitchFamily="2" charset="0"/>
      <a:buNone/>
      <a:defRPr sz="1200" kern="1200">
        <a:solidFill>
          <a:schemeClr val="tx1"/>
        </a:solidFill>
        <a:latin typeface="+mn-lt"/>
        <a:ea typeface="+mn-ea"/>
        <a:cs typeface="+mn-cs"/>
      </a:defRPr>
    </a:lvl1pPr>
    <a:lvl2pPr marL="180000" indent="0" algn="l" defTabSz="914400" rtl="0" eaLnBrk="1" latinLnBrk="0" hangingPunct="1">
      <a:buFont typeface="DFDS Sans" panose="00000500000000000000" pitchFamily="2" charset="0"/>
      <a:buNone/>
      <a:defRPr sz="1200" kern="1200">
        <a:solidFill>
          <a:schemeClr val="tx1"/>
        </a:solidFill>
        <a:latin typeface="+mn-lt"/>
        <a:ea typeface="+mn-ea"/>
        <a:cs typeface="+mn-cs"/>
      </a:defRPr>
    </a:lvl2pPr>
    <a:lvl3pPr marL="360000" indent="0" algn="l" defTabSz="914400" rtl="0" eaLnBrk="1" latinLnBrk="0" hangingPunct="1">
      <a:buFont typeface="DFDS Sans" panose="00000500000000000000" pitchFamily="2" charset="0"/>
      <a:buNone/>
      <a:defRPr sz="1200" kern="1200">
        <a:solidFill>
          <a:schemeClr val="tx1"/>
        </a:solidFill>
        <a:latin typeface="+mn-lt"/>
        <a:ea typeface="+mn-ea"/>
        <a:cs typeface="+mn-cs"/>
      </a:defRPr>
    </a:lvl3pPr>
    <a:lvl4pPr marL="540000" indent="0" algn="l" defTabSz="914400" rtl="0" eaLnBrk="1" latinLnBrk="0" hangingPunct="1">
      <a:buFont typeface="DFDS Sans" panose="00000500000000000000" pitchFamily="2" charset="0"/>
      <a:buNone/>
      <a:defRPr sz="1200" kern="1200">
        <a:solidFill>
          <a:schemeClr val="tx1"/>
        </a:solidFill>
        <a:latin typeface="+mn-lt"/>
        <a:ea typeface="+mn-ea"/>
        <a:cs typeface="+mn-cs"/>
      </a:defRPr>
    </a:lvl4pPr>
    <a:lvl5pPr marL="720000" indent="0" algn="l" defTabSz="914400" rtl="0" eaLnBrk="1" latinLnBrk="0" hangingPunct="1">
      <a:buFont typeface="DFDS Sans" panose="00000500000000000000" pitchFamily="2" charset="0"/>
      <a:buNone/>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3079" userDrawn="1">
          <p15:clr>
            <a:srgbClr val="F26B43"/>
          </p15:clr>
        </p15:guide>
        <p15:guide id="2" pos="211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fld id="{1B1D025B-ACD2-45C1-B156-1DDB470CE319}" type="slidenum">
              <a:rPr lang="en-GB" smtClean="0"/>
              <a:t>3</a:t>
            </a:fld>
            <a:endParaRPr lang="en-GB"/>
          </a:p>
        </p:txBody>
      </p:sp>
      <p:sp>
        <p:nvSpPr>
          <p:cNvPr id="5" name="Date Placeholder 4"/>
          <p:cNvSpPr>
            <a:spLocks noGrp="1"/>
          </p:cNvSpPr>
          <p:nvPr>
            <p:ph type="dt" idx="1"/>
          </p:nvPr>
        </p:nvSpPr>
        <p:spPr/>
        <p:txBody>
          <a:bodyPr/>
          <a:lstStyle/>
          <a:p>
            <a:fld id="{9CE20CE0-FC43-491D-8CC7-FDF4B98E9A0E}" type="datetime1">
              <a:rPr lang="en-GB" smtClean="0"/>
              <a:t>20/02/2025</a:t>
            </a:fld>
            <a:endParaRPr lang="en-GB"/>
          </a:p>
        </p:txBody>
      </p:sp>
      <p:sp>
        <p:nvSpPr>
          <p:cNvPr id="6" name="Header Placeholder 5"/>
          <p:cNvSpPr>
            <a:spLocks noGrp="1"/>
          </p:cNvSpPr>
          <p:nvPr>
            <p:ph type="hdr" sz="quarter"/>
          </p:nvPr>
        </p:nvSpPr>
        <p:spPr/>
        <p:txBody>
          <a:bodyPr/>
          <a:lstStyle/>
          <a:p>
            <a:endParaRPr lang="en-GB"/>
          </a:p>
        </p:txBody>
      </p:sp>
      <p:sp>
        <p:nvSpPr>
          <p:cNvPr id="7" name="Footer Placeholder 6"/>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32251031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fld id="{1B1D025B-ACD2-45C1-B156-1DDB470CE319}" type="slidenum">
              <a:rPr lang="en-GB" smtClean="0"/>
              <a:t>4</a:t>
            </a:fld>
            <a:endParaRPr lang="en-GB"/>
          </a:p>
        </p:txBody>
      </p:sp>
      <p:sp>
        <p:nvSpPr>
          <p:cNvPr id="5" name="Date Placeholder 4"/>
          <p:cNvSpPr>
            <a:spLocks noGrp="1"/>
          </p:cNvSpPr>
          <p:nvPr>
            <p:ph type="dt" idx="1"/>
          </p:nvPr>
        </p:nvSpPr>
        <p:spPr/>
        <p:txBody>
          <a:bodyPr/>
          <a:lstStyle/>
          <a:p>
            <a:fld id="{CA32C2F2-8A8F-4324-AE53-451B628CC0D6}" type="datetime1">
              <a:rPr lang="en-GB" smtClean="0"/>
              <a:t>20/02/2025</a:t>
            </a:fld>
            <a:endParaRPr lang="en-GB"/>
          </a:p>
        </p:txBody>
      </p:sp>
      <p:sp>
        <p:nvSpPr>
          <p:cNvPr id="6" name="Header Placeholder 5"/>
          <p:cNvSpPr>
            <a:spLocks noGrp="1"/>
          </p:cNvSpPr>
          <p:nvPr>
            <p:ph type="hdr" sz="quarter"/>
          </p:nvPr>
        </p:nvSpPr>
        <p:spPr/>
        <p:txBody>
          <a:bodyPr/>
          <a:lstStyle/>
          <a:p>
            <a:endParaRPr lang="en-GB"/>
          </a:p>
        </p:txBody>
      </p:sp>
      <p:sp>
        <p:nvSpPr>
          <p:cNvPr id="7" name="Footer Placeholder 6"/>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42275655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fld id="{1B1D025B-ACD2-45C1-B156-1DDB470CE319}" type="slidenum">
              <a:rPr lang="en-GB" smtClean="0"/>
              <a:t>13</a:t>
            </a:fld>
            <a:endParaRPr lang="en-GB"/>
          </a:p>
        </p:txBody>
      </p:sp>
      <p:sp>
        <p:nvSpPr>
          <p:cNvPr id="5" name="Date Placeholder 4"/>
          <p:cNvSpPr>
            <a:spLocks noGrp="1"/>
          </p:cNvSpPr>
          <p:nvPr>
            <p:ph type="dt" idx="1"/>
          </p:nvPr>
        </p:nvSpPr>
        <p:spPr/>
        <p:txBody>
          <a:bodyPr/>
          <a:lstStyle/>
          <a:p>
            <a:fld id="{C9300C6C-A965-48F8-A587-9F400A86BA24}" type="datetime1">
              <a:rPr lang="en-GB" smtClean="0"/>
              <a:t>20/02/2025</a:t>
            </a:fld>
            <a:endParaRPr lang="en-GB"/>
          </a:p>
        </p:txBody>
      </p:sp>
      <p:sp>
        <p:nvSpPr>
          <p:cNvPr id="6" name="Header Placeholder 5"/>
          <p:cNvSpPr>
            <a:spLocks noGrp="1"/>
          </p:cNvSpPr>
          <p:nvPr>
            <p:ph type="hdr" sz="quarter"/>
          </p:nvPr>
        </p:nvSpPr>
        <p:spPr/>
        <p:txBody>
          <a:bodyPr/>
          <a:lstStyle/>
          <a:p>
            <a:endParaRPr lang="en-GB"/>
          </a:p>
        </p:txBody>
      </p:sp>
      <p:sp>
        <p:nvSpPr>
          <p:cNvPr id="7" name="Footer Placeholder 6"/>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1353513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fld id="{1B1D025B-ACD2-45C1-B156-1DDB470CE319}" type="slidenum">
              <a:rPr lang="en-GB" smtClean="0"/>
              <a:t>23</a:t>
            </a:fld>
            <a:endParaRPr lang="en-GB"/>
          </a:p>
        </p:txBody>
      </p:sp>
      <p:sp>
        <p:nvSpPr>
          <p:cNvPr id="5" name="Date Placeholder 4"/>
          <p:cNvSpPr>
            <a:spLocks noGrp="1"/>
          </p:cNvSpPr>
          <p:nvPr>
            <p:ph type="dt" idx="1"/>
          </p:nvPr>
        </p:nvSpPr>
        <p:spPr/>
        <p:txBody>
          <a:bodyPr/>
          <a:lstStyle/>
          <a:p>
            <a:fld id="{C9300C6C-A965-48F8-A587-9F400A86BA24}" type="datetime1">
              <a:rPr lang="en-GB" smtClean="0"/>
              <a:t>20/02/2025</a:t>
            </a:fld>
            <a:endParaRPr lang="en-GB"/>
          </a:p>
        </p:txBody>
      </p:sp>
      <p:sp>
        <p:nvSpPr>
          <p:cNvPr id="6" name="Header Placeholder 5"/>
          <p:cNvSpPr>
            <a:spLocks noGrp="1"/>
          </p:cNvSpPr>
          <p:nvPr>
            <p:ph type="hdr" sz="quarter"/>
          </p:nvPr>
        </p:nvSpPr>
        <p:spPr/>
        <p:txBody>
          <a:bodyPr/>
          <a:lstStyle/>
          <a:p>
            <a:endParaRPr lang="en-GB"/>
          </a:p>
        </p:txBody>
      </p:sp>
      <p:sp>
        <p:nvSpPr>
          <p:cNvPr id="7" name="Footer Placeholder 6"/>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13940032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 Id="rId5" Type="http://schemas.openxmlformats.org/officeDocument/2006/relationships/image" Target="../media/image9.svg"/><Relationship Id="rId4" Type="http://schemas.openxmlformats.org/officeDocument/2006/relationships/image" Target="../media/image8.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 Id="rId5" Type="http://schemas.openxmlformats.org/officeDocument/2006/relationships/image" Target="../media/image9.svg"/><Relationship Id="rId4" Type="http://schemas.openxmlformats.org/officeDocument/2006/relationships/image" Target="../media/image8.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image" Target="../media/image14.png"/><Relationship Id="rId1" Type="http://schemas.openxmlformats.org/officeDocument/2006/relationships/slideMaster" Target="../slideMasters/slideMaster1.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 Id="rId9" Type="http://schemas.openxmlformats.org/officeDocument/2006/relationships/image" Target="../media/image21.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3.svg"/><Relationship Id="rId7" Type="http://schemas.openxmlformats.org/officeDocument/2006/relationships/image" Target="../media/image27.svg"/><Relationship Id="rId2" Type="http://schemas.openxmlformats.org/officeDocument/2006/relationships/image" Target="../media/image22.png"/><Relationship Id="rId1" Type="http://schemas.openxmlformats.org/officeDocument/2006/relationships/slideMaster" Target="../slideMasters/slideMaster1.xml"/><Relationship Id="rId6" Type="http://schemas.openxmlformats.org/officeDocument/2006/relationships/image" Target="../media/image26.png"/><Relationship Id="rId5" Type="http://schemas.openxmlformats.org/officeDocument/2006/relationships/image" Target="../media/image25.svg"/><Relationship Id="rId4" Type="http://schemas.openxmlformats.org/officeDocument/2006/relationships/image" Target="../media/image24.pn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28.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9.svg"/><Relationship Id="rId4" Type="http://schemas.openxmlformats.org/officeDocument/2006/relationships/image" Target="../media/image8.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A (dark image)">
    <p:bg>
      <p:bgPr>
        <a:solidFill>
          <a:schemeClr val="accent2"/>
        </a:solidFill>
        <a:effectLst/>
      </p:bgPr>
    </p:bg>
    <p:spTree>
      <p:nvGrpSpPr>
        <p:cNvPr id="1" name=""/>
        <p:cNvGrpSpPr/>
        <p:nvPr/>
      </p:nvGrpSpPr>
      <p:grpSpPr>
        <a:xfrm>
          <a:off x="0" y="0"/>
          <a:ext cx="0" cy="0"/>
          <a:chOff x="0" y="0"/>
          <a:chExt cx="0" cy="0"/>
        </a:xfrm>
      </p:grpSpPr>
      <p:sp>
        <p:nvSpPr>
          <p:cNvPr id="21" name="Background">
            <a:extLst>
              <a:ext uri="{FF2B5EF4-FFF2-40B4-BE49-F238E27FC236}">
                <a16:creationId xmlns:a16="http://schemas.microsoft.com/office/drawing/2014/main" id="{09CBB849-CB26-A81F-79F5-F23E771B24D7}"/>
              </a:ext>
            </a:extLst>
          </p:cNvPr>
          <p:cNvSpPr/>
          <p:nvPr userDrawn="1"/>
        </p:nvSpPr>
        <p:spPr>
          <a:xfrm>
            <a:off x="0" y="0"/>
            <a:ext cx="121932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7" name="Picture Placeholder 16">
            <a:extLst>
              <a:ext uri="{FF2B5EF4-FFF2-40B4-BE49-F238E27FC236}">
                <a16:creationId xmlns:a16="http://schemas.microsoft.com/office/drawing/2014/main" id="{0809F643-6183-63D5-FFB1-C2A8EEC61D38}"/>
              </a:ext>
            </a:extLst>
          </p:cNvPr>
          <p:cNvSpPr>
            <a:spLocks noGrp="1"/>
          </p:cNvSpPr>
          <p:nvPr>
            <p:ph type="pic" sz="quarter" idx="18" hasCustomPrompt="1"/>
          </p:nvPr>
        </p:nvSpPr>
        <p:spPr>
          <a:xfrm>
            <a:off x="0" y="0"/>
            <a:ext cx="12192000" cy="6858000"/>
          </a:xfrm>
          <a:custGeom>
            <a:avLst/>
            <a:gdLst>
              <a:gd name="connsiteX0" fmla="*/ 0 w 12192000"/>
              <a:gd name="connsiteY0" fmla="*/ 6857934 h 6858000"/>
              <a:gd name="connsiteX1" fmla="*/ 12192000 w 12192000"/>
              <a:gd name="connsiteY1" fmla="*/ 6857934 h 6858000"/>
              <a:gd name="connsiteX2" fmla="*/ 12192000 w 12192000"/>
              <a:gd name="connsiteY2" fmla="*/ 6858000 h 6858000"/>
              <a:gd name="connsiteX3" fmla="*/ 0 w 12192000"/>
              <a:gd name="connsiteY3" fmla="*/ 6858000 h 6858000"/>
              <a:gd name="connsiteX4" fmla="*/ 0 w 12192000"/>
              <a:gd name="connsiteY4" fmla="*/ 0 h 6858000"/>
              <a:gd name="connsiteX5" fmla="*/ 12192000 w 12192000"/>
              <a:gd name="connsiteY5" fmla="*/ 0 h 6858000"/>
              <a:gd name="connsiteX6" fmla="*/ 12192000 w 12192000"/>
              <a:gd name="connsiteY6" fmla="*/ 3505200 h 6858000"/>
              <a:gd name="connsiteX7" fmla="*/ 0 w 12192000"/>
              <a:gd name="connsiteY7" fmla="*/ 551685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0" y="6857934"/>
                </a:moveTo>
                <a:lnTo>
                  <a:pt x="12192000" y="6857934"/>
                </a:lnTo>
                <a:lnTo>
                  <a:pt x="12192000" y="6858000"/>
                </a:lnTo>
                <a:lnTo>
                  <a:pt x="0" y="6858000"/>
                </a:lnTo>
                <a:close/>
                <a:moveTo>
                  <a:pt x="0" y="0"/>
                </a:moveTo>
                <a:lnTo>
                  <a:pt x="12192000" y="0"/>
                </a:lnTo>
                <a:lnTo>
                  <a:pt x="12192000" y="3505200"/>
                </a:lnTo>
                <a:cubicBezTo>
                  <a:pt x="7286178" y="3505200"/>
                  <a:pt x="5907339" y="5516852"/>
                  <a:pt x="0" y="5516852"/>
                </a:cubicBezTo>
                <a:close/>
              </a:path>
            </a:pathLst>
          </a:custGeom>
          <a:solidFill>
            <a:schemeClr val="bg1">
              <a:lumMod val="85000"/>
            </a:schemeClr>
          </a:solidFill>
        </p:spPr>
        <p:txBody>
          <a:bodyPr wrap="square" bIns="648000" anchor="ctr">
            <a:noAutofit/>
          </a:bodyPr>
          <a:lstStyle>
            <a:lvl1pPr marL="126000" indent="0" algn="ctr">
              <a:buNone/>
              <a:defRPr/>
            </a:lvl1pPr>
          </a:lstStyle>
          <a:p>
            <a:r>
              <a:rPr lang="en-GB"/>
              <a:t>Click icon to add dark picture</a:t>
            </a:r>
          </a:p>
        </p:txBody>
      </p:sp>
      <p:sp>
        <p:nvSpPr>
          <p:cNvPr id="2" name="Title 1"/>
          <p:cNvSpPr>
            <a:spLocks noGrp="1"/>
          </p:cNvSpPr>
          <p:nvPr>
            <p:ph type="ctrTitle" hasCustomPrompt="1"/>
          </p:nvPr>
        </p:nvSpPr>
        <p:spPr bwMode="white">
          <a:xfrm>
            <a:off x="269875" y="271462"/>
            <a:ext cx="11650663" cy="2029777"/>
          </a:xfrm>
        </p:spPr>
        <p:txBody>
          <a:bodyPr anchor="t"/>
          <a:lstStyle>
            <a:lvl1pPr algn="l">
              <a:lnSpc>
                <a:spcPct val="90000"/>
              </a:lnSpc>
              <a:defRPr sz="7500">
                <a:solidFill>
                  <a:schemeClr val="bg1"/>
                </a:solidFill>
              </a:defRPr>
            </a:lvl1pPr>
          </a:lstStyle>
          <a:p>
            <a:r>
              <a:rPr lang="en-GB"/>
              <a:t>Click to add title</a:t>
            </a:r>
          </a:p>
        </p:txBody>
      </p:sp>
      <p:pic>
        <p:nvPicPr>
          <p:cNvPr id="24" name="Logo">
            <a:extLst>
              <a:ext uri="{FF2B5EF4-FFF2-40B4-BE49-F238E27FC236}">
                <a16:creationId xmlns:a16="http://schemas.microsoft.com/office/drawing/2014/main" id="{FEA3BFCE-12E5-2C60-27A4-78E098AB4CEC}"/>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929938" y="6253163"/>
            <a:ext cx="1000125" cy="333375"/>
          </a:xfrm>
          <a:prstGeom prst="rect">
            <a:avLst/>
          </a:prstGeom>
        </p:spPr>
      </p:pic>
      <p:sp>
        <p:nvSpPr>
          <p:cNvPr id="27" name="Subtitle 2">
            <a:extLst>
              <a:ext uri="{FF2B5EF4-FFF2-40B4-BE49-F238E27FC236}">
                <a16:creationId xmlns:a16="http://schemas.microsoft.com/office/drawing/2014/main" id="{61B7D5FC-1EAC-298E-D828-AEE1FD7B5DD5}"/>
              </a:ext>
            </a:extLst>
          </p:cNvPr>
          <p:cNvSpPr>
            <a:spLocks noGrp="1"/>
          </p:cNvSpPr>
          <p:nvPr>
            <p:ph type="subTitle" idx="1" hasCustomPrompt="1"/>
          </p:nvPr>
        </p:nvSpPr>
        <p:spPr bwMode="white">
          <a:xfrm>
            <a:off x="269875" y="6429375"/>
            <a:ext cx="1971675" cy="157163"/>
          </a:xfrm>
        </p:spPr>
        <p:txBody>
          <a:bodyPr tIns="0"/>
          <a:lstStyle>
            <a:lvl1pPr marL="0" indent="0" algn="l">
              <a:lnSpc>
                <a:spcPct val="100000"/>
              </a:lnSpc>
              <a:spcBef>
                <a:spcPts val="0"/>
              </a:spcBef>
              <a:spcAft>
                <a:spcPts val="0"/>
              </a:spcAft>
              <a:buFont typeface="DFDS Sans" panose="00000500000000000000" pitchFamily="2" charset="0"/>
              <a:buChar char="​"/>
              <a:defRPr sz="1000">
                <a:solidFill>
                  <a:schemeClr val="bg1"/>
                </a:solidFill>
              </a:defRPr>
            </a:lvl1pPr>
            <a:lvl2pPr marL="0" indent="0" algn="l">
              <a:lnSpc>
                <a:spcPct val="100000"/>
              </a:lnSpc>
              <a:spcAft>
                <a:spcPts val="0"/>
              </a:spcAft>
              <a:buFont typeface="DFDS Sans" panose="00000500000000000000" pitchFamily="2" charset="0"/>
              <a:buNone/>
              <a:defRPr sz="1000" b="0">
                <a:solidFill>
                  <a:schemeClr val="bg1"/>
                </a:solidFill>
              </a:defRPr>
            </a:lvl2pPr>
            <a:lvl3pPr marL="0" indent="0" algn="l">
              <a:lnSpc>
                <a:spcPct val="100000"/>
              </a:lnSpc>
              <a:spcAft>
                <a:spcPts val="0"/>
              </a:spcAft>
              <a:buFont typeface="DFDS Sans" panose="00000500000000000000" pitchFamily="2" charset="0"/>
              <a:buChar char="​"/>
              <a:defRPr sz="1000" b="0">
                <a:solidFill>
                  <a:schemeClr val="bg1"/>
                </a:solidFill>
              </a:defRPr>
            </a:lvl3pPr>
            <a:lvl4pPr marL="0" indent="0" algn="l">
              <a:lnSpc>
                <a:spcPct val="100000"/>
              </a:lnSpc>
              <a:spcAft>
                <a:spcPts val="0"/>
              </a:spcAft>
              <a:buFont typeface="DFDS Sans" panose="00000500000000000000" pitchFamily="2" charset="0"/>
              <a:buChar char="​"/>
              <a:defRPr sz="1000" b="0">
                <a:solidFill>
                  <a:schemeClr val="bg1"/>
                </a:solidFill>
              </a:defRPr>
            </a:lvl4pPr>
            <a:lvl5pPr marL="0" indent="0" algn="l">
              <a:lnSpc>
                <a:spcPct val="100000"/>
              </a:lnSpc>
              <a:spcAft>
                <a:spcPts val="0"/>
              </a:spcAft>
              <a:buFont typeface="DFDS Sans" panose="00000500000000000000" pitchFamily="2" charset="0"/>
              <a:buChar char="​"/>
              <a:defRPr sz="1000" b="0">
                <a:solidFill>
                  <a:schemeClr val="bg1"/>
                </a:solidFill>
              </a:defRPr>
            </a:lvl5pPr>
            <a:lvl6pPr marL="0" indent="0" algn="l">
              <a:lnSpc>
                <a:spcPct val="100000"/>
              </a:lnSpc>
              <a:spcAft>
                <a:spcPts val="0"/>
              </a:spcAft>
              <a:buFont typeface="DFDS Sans" panose="00000500000000000000" pitchFamily="2" charset="0"/>
              <a:buChar char="​"/>
              <a:defRPr sz="1000" b="0">
                <a:solidFill>
                  <a:schemeClr val="bg1"/>
                </a:solidFill>
              </a:defRPr>
            </a:lvl6pPr>
            <a:lvl7pPr marL="0" indent="0" algn="l">
              <a:lnSpc>
                <a:spcPct val="100000"/>
              </a:lnSpc>
              <a:spcAft>
                <a:spcPts val="0"/>
              </a:spcAft>
              <a:buFont typeface="DFDS Sans" panose="00000500000000000000" pitchFamily="2" charset="0"/>
              <a:buChar char="​"/>
              <a:defRPr sz="1000" b="0">
                <a:solidFill>
                  <a:schemeClr val="bg1"/>
                </a:solidFill>
              </a:defRPr>
            </a:lvl7pPr>
            <a:lvl8pPr marL="0" indent="0" algn="l">
              <a:lnSpc>
                <a:spcPct val="100000"/>
              </a:lnSpc>
              <a:spcAft>
                <a:spcPts val="0"/>
              </a:spcAft>
              <a:buFont typeface="DFDS Sans" panose="00000500000000000000" pitchFamily="2" charset="0"/>
              <a:buChar char="​"/>
              <a:defRPr sz="1000" b="0">
                <a:solidFill>
                  <a:schemeClr val="bg1"/>
                </a:solidFill>
              </a:defRPr>
            </a:lvl8pPr>
            <a:lvl9pPr marL="0" indent="0" algn="l">
              <a:lnSpc>
                <a:spcPct val="100000"/>
              </a:lnSpc>
              <a:spcAft>
                <a:spcPts val="0"/>
              </a:spcAft>
              <a:buFont typeface="DFDS Sans" panose="00000500000000000000" pitchFamily="2" charset="0"/>
              <a:buChar char="​"/>
              <a:defRPr sz="1000" b="0">
                <a:solidFill>
                  <a:schemeClr val="bg1"/>
                </a:solidFill>
              </a:defRPr>
            </a:lvl9pPr>
          </a:lstStyle>
          <a:p>
            <a:r>
              <a:rPr lang="en-GB"/>
              <a:t>Click to add event name</a:t>
            </a:r>
          </a:p>
        </p:txBody>
      </p:sp>
      <p:sp>
        <p:nvSpPr>
          <p:cNvPr id="37" name="Date Placeholder 36">
            <a:extLst>
              <a:ext uri="{FF2B5EF4-FFF2-40B4-BE49-F238E27FC236}">
                <a16:creationId xmlns:a16="http://schemas.microsoft.com/office/drawing/2014/main" id="{FEB58EF0-72CE-E9B0-DAF2-2DAEE50ABF86}"/>
              </a:ext>
            </a:extLst>
          </p:cNvPr>
          <p:cNvSpPr>
            <a:spLocks noGrp="1"/>
          </p:cNvSpPr>
          <p:nvPr>
            <p:ph type="dt" sz="half" idx="19"/>
          </p:nvPr>
        </p:nvSpPr>
        <p:spPr bwMode="white">
          <a:xfrm>
            <a:off x="3227387" y="6442538"/>
            <a:ext cx="1792287" cy="144000"/>
          </a:xfrm>
        </p:spPr>
        <p:txBody>
          <a:bodyPr/>
          <a:lstStyle>
            <a:lvl1pPr>
              <a:defRPr>
                <a:solidFill>
                  <a:schemeClr val="bg1"/>
                </a:solidFill>
              </a:defRPr>
            </a:lvl1pPr>
          </a:lstStyle>
          <a:p>
            <a:fld id="{B79853A1-2675-41BA-9EE6-4806102E8C28}" type="datetime4">
              <a:rPr lang="en-GB" smtClean="0"/>
              <a:t>20 February 2025</a:t>
            </a:fld>
            <a:endParaRPr lang="en-GB"/>
          </a:p>
        </p:txBody>
      </p:sp>
    </p:spTree>
    <p:extLst>
      <p:ext uri="{BB962C8B-B14F-4D97-AF65-F5344CB8AC3E}">
        <p14:creationId xmlns:p14="http://schemas.microsoft.com/office/powerpoint/2010/main" val="27069129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Breaker B">
    <p:bg>
      <p:bgPr>
        <a:solidFill>
          <a:schemeClr val="accent1"/>
        </a:solidFill>
        <a:effectLst/>
      </p:bgPr>
    </p:bg>
    <p:spTree>
      <p:nvGrpSpPr>
        <p:cNvPr id="1" name=""/>
        <p:cNvGrpSpPr/>
        <p:nvPr/>
      </p:nvGrpSpPr>
      <p:grpSpPr>
        <a:xfrm>
          <a:off x="0" y="0"/>
          <a:ext cx="0" cy="0"/>
          <a:chOff x="0" y="0"/>
          <a:chExt cx="0" cy="0"/>
        </a:xfrm>
      </p:grpSpPr>
      <p:sp>
        <p:nvSpPr>
          <p:cNvPr id="4" name="Background">
            <a:extLst>
              <a:ext uri="{FF2B5EF4-FFF2-40B4-BE49-F238E27FC236}">
                <a16:creationId xmlns:a16="http://schemas.microsoft.com/office/drawing/2014/main" id="{FE78B44B-1DEA-D179-6ED7-35DF3C63B138}"/>
              </a:ext>
            </a:extLst>
          </p:cNvPr>
          <p:cNvSpPr/>
          <p:nvPr userDrawn="1"/>
        </p:nvSpPr>
        <p:spPr>
          <a:xfrm>
            <a:off x="0" y="0"/>
            <a:ext cx="121932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pic>
        <p:nvPicPr>
          <p:cNvPr id="6" name="Graphic 5">
            <a:extLst>
              <a:ext uri="{FF2B5EF4-FFF2-40B4-BE49-F238E27FC236}">
                <a16:creationId xmlns:a16="http://schemas.microsoft.com/office/drawing/2014/main" id="{D81137F1-A17E-5B02-5143-2925E6B624EF}"/>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191250" y="0"/>
            <a:ext cx="6000750" cy="6858000"/>
          </a:xfrm>
          <a:prstGeom prst="rect">
            <a:avLst/>
          </a:prstGeom>
        </p:spPr>
      </p:pic>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a:prstGeom prst="rect">
            <a:avLst/>
          </a:prstGeom>
        </p:spPr>
        <p:txBody>
          <a:bodyPr/>
          <a:lstStyle>
            <a:lvl1pPr>
              <a:defRPr sz="100">
                <a:noFill/>
              </a:defRPr>
            </a:lvl1pPr>
          </a:lstStyle>
          <a:p>
            <a:fld id="{12D5EC1F-229C-4F1E-8B22-F98703A834BF}" type="datetime4">
              <a:rPr lang="en-GB" smtClean="0"/>
              <a:t>20 February 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2" name="Title 1"/>
          <p:cNvSpPr>
            <a:spLocks noGrp="1"/>
          </p:cNvSpPr>
          <p:nvPr>
            <p:ph type="ctrTitle" hasCustomPrompt="1"/>
          </p:nvPr>
        </p:nvSpPr>
        <p:spPr>
          <a:xfrm>
            <a:off x="269876" y="269875"/>
            <a:ext cx="4749799" cy="1416050"/>
          </a:xfrm>
        </p:spPr>
        <p:txBody>
          <a:bodyPr anchor="t"/>
          <a:lstStyle>
            <a:lvl1pPr algn="l">
              <a:defRPr sz="4400">
                <a:solidFill>
                  <a:schemeClr val="accent1"/>
                </a:solidFill>
              </a:defRPr>
            </a:lvl1pPr>
          </a:lstStyle>
          <a:p>
            <a:r>
              <a:rPr lang="en-GB"/>
              <a:t>Click to add title</a:t>
            </a:r>
          </a:p>
        </p:txBody>
      </p:sp>
      <p:sp>
        <p:nvSpPr>
          <p:cNvPr id="3" name="Subtitle 2"/>
          <p:cNvSpPr>
            <a:spLocks noGrp="1"/>
          </p:cNvSpPr>
          <p:nvPr>
            <p:ph type="subTitle" idx="1" hasCustomPrompt="1"/>
          </p:nvPr>
        </p:nvSpPr>
        <p:spPr>
          <a:xfrm>
            <a:off x="269876" y="1926431"/>
            <a:ext cx="4749799" cy="540000"/>
          </a:xfrm>
        </p:spPr>
        <p:txBody>
          <a:bodyPr/>
          <a:lstStyle>
            <a:lvl1pPr marL="0" indent="0" algn="l">
              <a:spcBef>
                <a:spcPts val="0"/>
              </a:spcBef>
              <a:buFont typeface="DFDS Sans" panose="00000500000000000000" pitchFamily="2" charset="0"/>
              <a:buChar char="​"/>
              <a:defRPr sz="1600">
                <a:solidFill>
                  <a:schemeClr val="accent1"/>
                </a:solidFill>
              </a:defRPr>
            </a:lvl1pPr>
            <a:lvl2pPr marL="0" indent="0" algn="l">
              <a:spcAft>
                <a:spcPts val="600"/>
              </a:spcAft>
              <a:buFont typeface="DFDS Sans" panose="00000500000000000000" pitchFamily="2" charset="0"/>
              <a:buChar char="​"/>
              <a:defRPr sz="1600" b="0">
                <a:solidFill>
                  <a:schemeClr val="accent1"/>
                </a:solidFill>
              </a:defRPr>
            </a:lvl2pPr>
            <a:lvl3pPr marL="0" indent="0" algn="l">
              <a:spcAft>
                <a:spcPts val="600"/>
              </a:spcAft>
              <a:buFont typeface="DFDS Sans" panose="00000500000000000000" pitchFamily="2" charset="0"/>
              <a:buChar char="​"/>
              <a:defRPr sz="1600" b="0">
                <a:solidFill>
                  <a:schemeClr val="accent1"/>
                </a:solidFill>
              </a:defRPr>
            </a:lvl3pPr>
            <a:lvl4pPr marL="0" indent="0" algn="l">
              <a:spcAft>
                <a:spcPts val="600"/>
              </a:spcAft>
              <a:buFont typeface="DFDS Sans" panose="00000500000000000000" pitchFamily="2" charset="0"/>
              <a:buChar char="​"/>
              <a:defRPr sz="1600" b="0">
                <a:solidFill>
                  <a:schemeClr val="accent1"/>
                </a:solidFill>
              </a:defRPr>
            </a:lvl4pPr>
            <a:lvl5pPr marL="0" indent="0" algn="l">
              <a:spcAft>
                <a:spcPts val="600"/>
              </a:spcAft>
              <a:buFont typeface="DFDS Sans" panose="00000500000000000000" pitchFamily="2" charset="0"/>
              <a:buChar char="​"/>
              <a:defRPr sz="1600" b="0">
                <a:solidFill>
                  <a:schemeClr val="accent1"/>
                </a:solidFill>
              </a:defRPr>
            </a:lvl5pPr>
            <a:lvl6pPr marL="0" indent="0" algn="l">
              <a:spcAft>
                <a:spcPts val="600"/>
              </a:spcAft>
              <a:buFont typeface="DFDS Sans" panose="00000500000000000000" pitchFamily="2" charset="0"/>
              <a:buChar char="​"/>
              <a:defRPr sz="1600" b="0">
                <a:solidFill>
                  <a:schemeClr val="accent1"/>
                </a:solidFill>
              </a:defRPr>
            </a:lvl6pPr>
            <a:lvl7pPr marL="0" indent="0" algn="l">
              <a:spcAft>
                <a:spcPts val="600"/>
              </a:spcAft>
              <a:buFont typeface="DFDS Sans" panose="00000500000000000000" pitchFamily="2" charset="0"/>
              <a:buChar char="​"/>
              <a:defRPr sz="1600" b="0">
                <a:solidFill>
                  <a:schemeClr val="accent1"/>
                </a:solidFill>
              </a:defRPr>
            </a:lvl7pPr>
            <a:lvl8pPr marL="0" indent="0" algn="l">
              <a:spcAft>
                <a:spcPts val="600"/>
              </a:spcAft>
              <a:buFont typeface="DFDS Sans" panose="00000500000000000000" pitchFamily="2" charset="0"/>
              <a:buChar char="​"/>
              <a:defRPr sz="1600" b="0">
                <a:solidFill>
                  <a:schemeClr val="accent1"/>
                </a:solidFill>
              </a:defRPr>
            </a:lvl8pPr>
            <a:lvl9pPr marL="0" indent="0" algn="l">
              <a:spcAft>
                <a:spcPts val="600"/>
              </a:spcAft>
              <a:buFont typeface="DFDS Sans" panose="00000500000000000000" pitchFamily="2" charset="0"/>
              <a:buChar char="​"/>
              <a:defRPr sz="1600" b="0">
                <a:solidFill>
                  <a:schemeClr val="accent1"/>
                </a:solidFill>
              </a:defRPr>
            </a:lvl9pPr>
          </a:lstStyle>
          <a:p>
            <a:r>
              <a:rPr lang="en-GB"/>
              <a:t>Click to add subtitle</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 level</a:t>
            </a:r>
          </a:p>
          <a:p>
            <a:pPr lvl="6"/>
            <a:r>
              <a:rPr lang="en-GB" noProof="0"/>
              <a:t>7 level</a:t>
            </a:r>
          </a:p>
          <a:p>
            <a:pPr lvl="7"/>
            <a:r>
              <a:rPr lang="en-GB" noProof="0"/>
              <a:t>8 level</a:t>
            </a:r>
          </a:p>
          <a:p>
            <a:pPr lvl="8"/>
            <a:r>
              <a:rPr lang="en-GB" noProof="0"/>
              <a:t>9 level</a:t>
            </a:r>
            <a:endParaRPr lang="en-GB"/>
          </a:p>
        </p:txBody>
      </p:sp>
      <p:pic>
        <p:nvPicPr>
          <p:cNvPr id="14" name="Graphic 13">
            <a:extLst>
              <a:ext uri="{FF2B5EF4-FFF2-40B4-BE49-F238E27FC236}">
                <a16:creationId xmlns:a16="http://schemas.microsoft.com/office/drawing/2014/main" id="{D51F788F-9022-53F0-2482-81902706E006}"/>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929938" y="6253163"/>
            <a:ext cx="1000125" cy="333375"/>
          </a:xfrm>
          <a:prstGeom prst="rect">
            <a:avLst/>
          </a:prstGeom>
        </p:spPr>
      </p:pic>
    </p:spTree>
    <p:extLst>
      <p:ext uri="{BB962C8B-B14F-4D97-AF65-F5344CB8AC3E}">
        <p14:creationId xmlns:p14="http://schemas.microsoft.com/office/powerpoint/2010/main" val="413720519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Breaker C">
    <p:bg>
      <p:bgPr>
        <a:solidFill>
          <a:schemeClr val="accent1"/>
        </a:solidFill>
        <a:effectLst/>
      </p:bgPr>
    </p:bg>
    <p:spTree>
      <p:nvGrpSpPr>
        <p:cNvPr id="1" name=""/>
        <p:cNvGrpSpPr/>
        <p:nvPr/>
      </p:nvGrpSpPr>
      <p:grpSpPr>
        <a:xfrm>
          <a:off x="0" y="0"/>
          <a:ext cx="0" cy="0"/>
          <a:chOff x="0" y="0"/>
          <a:chExt cx="0" cy="0"/>
        </a:xfrm>
      </p:grpSpPr>
      <p:sp>
        <p:nvSpPr>
          <p:cNvPr id="4" name="Background">
            <a:extLst>
              <a:ext uri="{FF2B5EF4-FFF2-40B4-BE49-F238E27FC236}">
                <a16:creationId xmlns:a16="http://schemas.microsoft.com/office/drawing/2014/main" id="{FE78B44B-1DEA-D179-6ED7-35DF3C63B138}"/>
              </a:ext>
            </a:extLst>
          </p:cNvPr>
          <p:cNvSpPr/>
          <p:nvPr userDrawn="1"/>
        </p:nvSpPr>
        <p:spPr>
          <a:xfrm>
            <a:off x="0" y="0"/>
            <a:ext cx="121932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pic>
        <p:nvPicPr>
          <p:cNvPr id="7" name="Graphic 6">
            <a:extLst>
              <a:ext uri="{FF2B5EF4-FFF2-40B4-BE49-F238E27FC236}">
                <a16:creationId xmlns:a16="http://schemas.microsoft.com/office/drawing/2014/main" id="{07955B3A-4055-FC69-A26E-BA4D672A66D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191250" y="0"/>
            <a:ext cx="6000750" cy="6858000"/>
          </a:xfrm>
          <a:prstGeom prst="rect">
            <a:avLst/>
          </a:prstGeom>
        </p:spPr>
      </p:pic>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a:prstGeom prst="rect">
            <a:avLst/>
          </a:prstGeom>
        </p:spPr>
        <p:txBody>
          <a:bodyPr/>
          <a:lstStyle>
            <a:lvl1pPr>
              <a:defRPr sz="100">
                <a:noFill/>
              </a:defRPr>
            </a:lvl1pPr>
          </a:lstStyle>
          <a:p>
            <a:fld id="{EBCE947C-B12B-4CBF-91AA-F5E1E0611AB9}" type="datetime4">
              <a:rPr lang="en-GB" smtClean="0"/>
              <a:t>20 February 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2" name="Title 1"/>
          <p:cNvSpPr>
            <a:spLocks noGrp="1"/>
          </p:cNvSpPr>
          <p:nvPr>
            <p:ph type="ctrTitle" hasCustomPrompt="1"/>
          </p:nvPr>
        </p:nvSpPr>
        <p:spPr>
          <a:xfrm>
            <a:off x="269876" y="269875"/>
            <a:ext cx="4749799" cy="1416050"/>
          </a:xfrm>
        </p:spPr>
        <p:txBody>
          <a:bodyPr anchor="t"/>
          <a:lstStyle>
            <a:lvl1pPr algn="l">
              <a:defRPr sz="4400">
                <a:solidFill>
                  <a:schemeClr val="bg1"/>
                </a:solidFill>
              </a:defRPr>
            </a:lvl1pPr>
          </a:lstStyle>
          <a:p>
            <a:r>
              <a:rPr lang="en-GB"/>
              <a:t>Click to add title</a:t>
            </a:r>
          </a:p>
        </p:txBody>
      </p:sp>
      <p:sp>
        <p:nvSpPr>
          <p:cNvPr id="3" name="Subtitle 2"/>
          <p:cNvSpPr>
            <a:spLocks noGrp="1"/>
          </p:cNvSpPr>
          <p:nvPr>
            <p:ph type="subTitle" idx="1" hasCustomPrompt="1"/>
          </p:nvPr>
        </p:nvSpPr>
        <p:spPr>
          <a:xfrm>
            <a:off x="269876" y="1926431"/>
            <a:ext cx="4749799" cy="550069"/>
          </a:xfrm>
        </p:spPr>
        <p:txBody>
          <a:bodyPr/>
          <a:lstStyle>
            <a:lvl1pPr marL="0" indent="0" algn="l">
              <a:spcBef>
                <a:spcPts val="0"/>
              </a:spcBef>
              <a:buFont typeface="DFDS Sans" panose="00000500000000000000" pitchFamily="2" charset="0"/>
              <a:buChar char="​"/>
              <a:defRPr sz="1600">
                <a:solidFill>
                  <a:schemeClr val="bg1"/>
                </a:solidFill>
              </a:defRPr>
            </a:lvl1pPr>
            <a:lvl2pPr marL="0" indent="0" algn="l">
              <a:spcAft>
                <a:spcPts val="600"/>
              </a:spcAft>
              <a:buFont typeface="DFDS Sans" panose="00000500000000000000" pitchFamily="2" charset="0"/>
              <a:buChar char="​"/>
              <a:defRPr sz="1600" b="0">
                <a:solidFill>
                  <a:schemeClr val="bg1"/>
                </a:solidFill>
              </a:defRPr>
            </a:lvl2pPr>
            <a:lvl3pPr marL="0" indent="0" algn="l">
              <a:spcAft>
                <a:spcPts val="600"/>
              </a:spcAft>
              <a:buFont typeface="DFDS Sans" panose="00000500000000000000" pitchFamily="2" charset="0"/>
              <a:buChar char="​"/>
              <a:defRPr sz="1600" b="0">
                <a:solidFill>
                  <a:schemeClr val="bg1"/>
                </a:solidFill>
              </a:defRPr>
            </a:lvl3pPr>
            <a:lvl4pPr marL="0" indent="0" algn="l">
              <a:spcAft>
                <a:spcPts val="600"/>
              </a:spcAft>
              <a:buFont typeface="DFDS Sans" panose="00000500000000000000" pitchFamily="2" charset="0"/>
              <a:buChar char="​"/>
              <a:defRPr sz="1600" b="0">
                <a:solidFill>
                  <a:schemeClr val="bg1"/>
                </a:solidFill>
              </a:defRPr>
            </a:lvl4pPr>
            <a:lvl5pPr marL="0" indent="0" algn="l">
              <a:spcAft>
                <a:spcPts val="600"/>
              </a:spcAft>
              <a:buFont typeface="DFDS Sans" panose="00000500000000000000" pitchFamily="2" charset="0"/>
              <a:buChar char="​"/>
              <a:defRPr sz="1600" b="0">
                <a:solidFill>
                  <a:schemeClr val="bg1"/>
                </a:solidFill>
              </a:defRPr>
            </a:lvl5pPr>
            <a:lvl6pPr marL="0" indent="0" algn="l">
              <a:spcAft>
                <a:spcPts val="600"/>
              </a:spcAft>
              <a:buFont typeface="DFDS Sans" panose="00000500000000000000" pitchFamily="2" charset="0"/>
              <a:buChar char="​"/>
              <a:defRPr sz="1600" b="0">
                <a:solidFill>
                  <a:schemeClr val="bg1"/>
                </a:solidFill>
              </a:defRPr>
            </a:lvl6pPr>
            <a:lvl7pPr marL="0" indent="0" algn="l">
              <a:spcAft>
                <a:spcPts val="600"/>
              </a:spcAft>
              <a:buFont typeface="DFDS Sans" panose="00000500000000000000" pitchFamily="2" charset="0"/>
              <a:buChar char="​"/>
              <a:defRPr sz="1600" b="0">
                <a:solidFill>
                  <a:schemeClr val="bg1"/>
                </a:solidFill>
              </a:defRPr>
            </a:lvl7pPr>
            <a:lvl8pPr marL="0" indent="0" algn="l">
              <a:spcAft>
                <a:spcPts val="600"/>
              </a:spcAft>
              <a:buFont typeface="DFDS Sans" panose="00000500000000000000" pitchFamily="2" charset="0"/>
              <a:buChar char="​"/>
              <a:defRPr sz="1600" b="0">
                <a:solidFill>
                  <a:schemeClr val="bg1"/>
                </a:solidFill>
              </a:defRPr>
            </a:lvl8pPr>
            <a:lvl9pPr marL="0" indent="0" algn="l">
              <a:spcAft>
                <a:spcPts val="600"/>
              </a:spcAft>
              <a:buFont typeface="DFDS Sans" panose="00000500000000000000" pitchFamily="2" charset="0"/>
              <a:buChar char="​"/>
              <a:defRPr sz="1600" b="0">
                <a:solidFill>
                  <a:schemeClr val="bg1"/>
                </a:solidFill>
              </a:defRPr>
            </a:lvl9pPr>
          </a:lstStyle>
          <a:p>
            <a:r>
              <a:rPr lang="en-GB"/>
              <a:t>Click to add subtitle</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 level</a:t>
            </a:r>
          </a:p>
          <a:p>
            <a:pPr lvl="6"/>
            <a:r>
              <a:rPr lang="en-GB" noProof="0"/>
              <a:t>7 level</a:t>
            </a:r>
          </a:p>
          <a:p>
            <a:pPr lvl="7"/>
            <a:r>
              <a:rPr lang="en-GB" noProof="0"/>
              <a:t>8 level</a:t>
            </a:r>
          </a:p>
          <a:p>
            <a:pPr lvl="8"/>
            <a:r>
              <a:rPr lang="en-GB" noProof="0"/>
              <a:t>9 level</a:t>
            </a:r>
            <a:endParaRPr lang="en-GB"/>
          </a:p>
        </p:txBody>
      </p:sp>
      <p:pic>
        <p:nvPicPr>
          <p:cNvPr id="14" name="Graphic 13">
            <a:extLst>
              <a:ext uri="{FF2B5EF4-FFF2-40B4-BE49-F238E27FC236}">
                <a16:creationId xmlns:a16="http://schemas.microsoft.com/office/drawing/2014/main" id="{D51F788F-9022-53F0-2482-81902706E006}"/>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929938" y="6253163"/>
            <a:ext cx="1000125" cy="333375"/>
          </a:xfrm>
          <a:prstGeom prst="rect">
            <a:avLst/>
          </a:prstGeom>
        </p:spPr>
      </p:pic>
    </p:spTree>
    <p:extLst>
      <p:ext uri="{BB962C8B-B14F-4D97-AF65-F5344CB8AC3E}">
        <p14:creationId xmlns:p14="http://schemas.microsoft.com/office/powerpoint/2010/main" val="185182389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Breaker D (light image)">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14B640C6-80CE-C318-E73E-B7EBC2749BBC}"/>
              </a:ext>
            </a:extLst>
          </p:cNvPr>
          <p:cNvSpPr>
            <a:spLocks noGrp="1"/>
          </p:cNvSpPr>
          <p:nvPr>
            <p:ph type="pic" sz="quarter" idx="18" hasCustomPrompt="1"/>
          </p:nvPr>
        </p:nvSpPr>
        <p:spPr>
          <a:xfrm>
            <a:off x="6184900" y="0"/>
            <a:ext cx="6008300" cy="6858000"/>
          </a:xfrm>
          <a:custGeom>
            <a:avLst/>
            <a:gdLst>
              <a:gd name="connsiteX0" fmla="*/ 0 w 12195988"/>
              <a:gd name="connsiteY0" fmla="*/ 0 h 6858000"/>
              <a:gd name="connsiteX1" fmla="*/ 2788 w 12195988"/>
              <a:gd name="connsiteY1" fmla="*/ 0 h 6858000"/>
              <a:gd name="connsiteX2" fmla="*/ 12193200 w 12195988"/>
              <a:gd name="connsiteY2" fmla="*/ 0 h 6858000"/>
              <a:gd name="connsiteX3" fmla="*/ 12194788 w 12195988"/>
              <a:gd name="connsiteY3" fmla="*/ 0 h 6858000"/>
              <a:gd name="connsiteX4" fmla="*/ 12195988 w 12195988"/>
              <a:gd name="connsiteY4" fmla="*/ 0 h 6858000"/>
              <a:gd name="connsiteX5" fmla="*/ 12195988 w 12195988"/>
              <a:gd name="connsiteY5" fmla="*/ 6858000 h 6858000"/>
              <a:gd name="connsiteX6" fmla="*/ 12194788 w 12195988"/>
              <a:gd name="connsiteY6" fmla="*/ 6858000 h 6858000"/>
              <a:gd name="connsiteX7" fmla="*/ 12193200 w 12195988"/>
              <a:gd name="connsiteY7" fmla="*/ 6858000 h 6858000"/>
              <a:gd name="connsiteX8" fmla="*/ 2788 w 12195988"/>
              <a:gd name="connsiteY8" fmla="*/ 6858000 h 6858000"/>
              <a:gd name="connsiteX9" fmla="*/ 0 w 12195988"/>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5988" h="6858000">
                <a:moveTo>
                  <a:pt x="0" y="0"/>
                </a:moveTo>
                <a:lnTo>
                  <a:pt x="2788" y="0"/>
                </a:lnTo>
                <a:lnTo>
                  <a:pt x="12193200" y="0"/>
                </a:lnTo>
                <a:lnTo>
                  <a:pt x="12194788" y="0"/>
                </a:lnTo>
                <a:lnTo>
                  <a:pt x="12195988" y="0"/>
                </a:lnTo>
                <a:lnTo>
                  <a:pt x="12195988" y="6858000"/>
                </a:lnTo>
                <a:lnTo>
                  <a:pt x="12194788" y="6858000"/>
                </a:lnTo>
                <a:lnTo>
                  <a:pt x="12193200" y="6858000"/>
                </a:lnTo>
                <a:lnTo>
                  <a:pt x="2788" y="6858000"/>
                </a:lnTo>
                <a:lnTo>
                  <a:pt x="0" y="6858000"/>
                </a:lnTo>
                <a:close/>
              </a:path>
            </a:pathLst>
          </a:custGeom>
          <a:solidFill>
            <a:schemeClr val="bg1">
              <a:lumMod val="95000"/>
            </a:schemeClr>
          </a:solidFill>
        </p:spPr>
        <p:txBody>
          <a:bodyPr wrap="square" bIns="648000" anchor="ctr">
            <a:noAutofit/>
          </a:bodyPr>
          <a:lstStyle>
            <a:lvl1pPr marL="126000" indent="0" algn="ctr">
              <a:buNone/>
              <a:defRPr/>
            </a:lvl1pPr>
          </a:lstStyle>
          <a:p>
            <a:r>
              <a:rPr lang="en-GB"/>
              <a:t>Click icon to add light picture</a:t>
            </a:r>
          </a:p>
        </p:txBody>
      </p:sp>
      <p:sp>
        <p:nvSpPr>
          <p:cNvPr id="4" name="Background">
            <a:extLst>
              <a:ext uri="{FF2B5EF4-FFF2-40B4-BE49-F238E27FC236}">
                <a16:creationId xmlns:a16="http://schemas.microsoft.com/office/drawing/2014/main" id="{FE78B44B-1DEA-D179-6ED7-35DF3C63B138}"/>
              </a:ext>
            </a:extLst>
          </p:cNvPr>
          <p:cNvSpPr/>
          <p:nvPr userDrawn="1"/>
        </p:nvSpPr>
        <p:spPr>
          <a:xfrm>
            <a:off x="0" y="0"/>
            <a:ext cx="61849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a:prstGeom prst="rect">
            <a:avLst/>
          </a:prstGeom>
        </p:spPr>
        <p:txBody>
          <a:bodyPr/>
          <a:lstStyle>
            <a:lvl1pPr>
              <a:defRPr sz="100">
                <a:noFill/>
              </a:defRPr>
            </a:lvl1pPr>
          </a:lstStyle>
          <a:p>
            <a:fld id="{8F31AD69-A629-4B0A-B559-42F9C8F6AB4E}" type="datetime4">
              <a:rPr lang="en-GB" smtClean="0"/>
              <a:t>20 February 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2" name="Title 1"/>
          <p:cNvSpPr>
            <a:spLocks noGrp="1"/>
          </p:cNvSpPr>
          <p:nvPr>
            <p:ph type="ctrTitle" hasCustomPrompt="1"/>
          </p:nvPr>
        </p:nvSpPr>
        <p:spPr bwMode="white">
          <a:xfrm>
            <a:off x="269876" y="269875"/>
            <a:ext cx="4749799" cy="1416050"/>
          </a:xfrm>
        </p:spPr>
        <p:txBody>
          <a:bodyPr anchor="t"/>
          <a:lstStyle>
            <a:lvl1pPr algn="l">
              <a:defRPr sz="4400">
                <a:solidFill>
                  <a:schemeClr val="bg1"/>
                </a:solidFill>
              </a:defRPr>
            </a:lvl1pPr>
          </a:lstStyle>
          <a:p>
            <a:r>
              <a:rPr lang="en-GB"/>
              <a:t>Click to add title</a:t>
            </a:r>
          </a:p>
        </p:txBody>
      </p:sp>
      <p:sp>
        <p:nvSpPr>
          <p:cNvPr id="3" name="Subtitle 2"/>
          <p:cNvSpPr>
            <a:spLocks noGrp="1"/>
          </p:cNvSpPr>
          <p:nvPr>
            <p:ph type="subTitle" idx="1" hasCustomPrompt="1"/>
          </p:nvPr>
        </p:nvSpPr>
        <p:spPr bwMode="white">
          <a:xfrm>
            <a:off x="269876" y="1926431"/>
            <a:ext cx="4749799" cy="540000"/>
          </a:xfrm>
        </p:spPr>
        <p:txBody>
          <a:bodyPr/>
          <a:lstStyle>
            <a:lvl1pPr marL="0" indent="0" algn="l">
              <a:spcBef>
                <a:spcPts val="0"/>
              </a:spcBef>
              <a:buFont typeface="DFDS Sans" panose="00000500000000000000" pitchFamily="2" charset="0"/>
              <a:buChar char="​"/>
              <a:defRPr sz="1600">
                <a:solidFill>
                  <a:schemeClr val="bg1"/>
                </a:solidFill>
              </a:defRPr>
            </a:lvl1pPr>
            <a:lvl2pPr marL="0" indent="0" algn="l">
              <a:spcAft>
                <a:spcPts val="600"/>
              </a:spcAft>
              <a:buFont typeface="DFDS Sans" panose="00000500000000000000" pitchFamily="2" charset="0"/>
              <a:buChar char="​"/>
              <a:defRPr sz="1600" b="0">
                <a:solidFill>
                  <a:schemeClr val="bg1"/>
                </a:solidFill>
              </a:defRPr>
            </a:lvl2pPr>
            <a:lvl3pPr marL="0" indent="0" algn="l">
              <a:spcAft>
                <a:spcPts val="600"/>
              </a:spcAft>
              <a:buFont typeface="DFDS Sans" panose="00000500000000000000" pitchFamily="2" charset="0"/>
              <a:buChar char="​"/>
              <a:defRPr sz="1600" b="0">
                <a:solidFill>
                  <a:schemeClr val="bg1"/>
                </a:solidFill>
              </a:defRPr>
            </a:lvl3pPr>
            <a:lvl4pPr marL="0" indent="0" algn="l">
              <a:spcAft>
                <a:spcPts val="600"/>
              </a:spcAft>
              <a:buFont typeface="DFDS Sans" panose="00000500000000000000" pitchFamily="2" charset="0"/>
              <a:buChar char="​"/>
              <a:defRPr sz="1600" b="0">
                <a:solidFill>
                  <a:schemeClr val="bg1"/>
                </a:solidFill>
              </a:defRPr>
            </a:lvl4pPr>
            <a:lvl5pPr marL="0" indent="0" algn="l">
              <a:spcAft>
                <a:spcPts val="600"/>
              </a:spcAft>
              <a:buFont typeface="DFDS Sans" panose="00000500000000000000" pitchFamily="2" charset="0"/>
              <a:buChar char="​"/>
              <a:defRPr sz="1600" b="0">
                <a:solidFill>
                  <a:schemeClr val="bg1"/>
                </a:solidFill>
              </a:defRPr>
            </a:lvl5pPr>
            <a:lvl6pPr marL="0" indent="0" algn="l">
              <a:spcAft>
                <a:spcPts val="600"/>
              </a:spcAft>
              <a:buFont typeface="DFDS Sans" panose="00000500000000000000" pitchFamily="2" charset="0"/>
              <a:buChar char="​"/>
              <a:defRPr sz="1600" b="0">
                <a:solidFill>
                  <a:schemeClr val="bg1"/>
                </a:solidFill>
              </a:defRPr>
            </a:lvl6pPr>
            <a:lvl7pPr marL="0" indent="0" algn="l">
              <a:spcAft>
                <a:spcPts val="600"/>
              </a:spcAft>
              <a:buFont typeface="DFDS Sans" panose="00000500000000000000" pitchFamily="2" charset="0"/>
              <a:buChar char="​"/>
              <a:defRPr sz="1600" b="0">
                <a:solidFill>
                  <a:schemeClr val="bg1"/>
                </a:solidFill>
              </a:defRPr>
            </a:lvl7pPr>
            <a:lvl8pPr marL="0" indent="0" algn="l">
              <a:spcAft>
                <a:spcPts val="600"/>
              </a:spcAft>
              <a:buFont typeface="DFDS Sans" panose="00000500000000000000" pitchFamily="2" charset="0"/>
              <a:buChar char="​"/>
              <a:defRPr sz="1600" b="0">
                <a:solidFill>
                  <a:schemeClr val="bg1"/>
                </a:solidFill>
              </a:defRPr>
            </a:lvl8pPr>
            <a:lvl9pPr marL="0" indent="0" algn="l">
              <a:spcAft>
                <a:spcPts val="600"/>
              </a:spcAft>
              <a:buFont typeface="DFDS Sans" panose="00000500000000000000" pitchFamily="2" charset="0"/>
              <a:buChar char="​"/>
              <a:defRPr sz="1600" b="0">
                <a:solidFill>
                  <a:schemeClr val="bg1"/>
                </a:solidFill>
              </a:defRPr>
            </a:lvl9pPr>
          </a:lstStyle>
          <a:p>
            <a:r>
              <a:rPr lang="en-GB"/>
              <a:t>Click to add subtitle</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 level</a:t>
            </a:r>
          </a:p>
          <a:p>
            <a:pPr lvl="6"/>
            <a:r>
              <a:rPr lang="en-GB" noProof="0"/>
              <a:t>7 level</a:t>
            </a:r>
          </a:p>
          <a:p>
            <a:pPr lvl="7"/>
            <a:r>
              <a:rPr lang="en-GB" noProof="0"/>
              <a:t>8 level</a:t>
            </a:r>
          </a:p>
          <a:p>
            <a:pPr lvl="8"/>
            <a:r>
              <a:rPr lang="en-GB" noProof="0"/>
              <a:t>9 level</a:t>
            </a:r>
            <a:endParaRPr lang="en-GB"/>
          </a:p>
        </p:txBody>
      </p:sp>
      <p:sp>
        <p:nvSpPr>
          <p:cNvPr id="20" name="Text Placeholder 19">
            <a:extLst>
              <a:ext uri="{FF2B5EF4-FFF2-40B4-BE49-F238E27FC236}">
                <a16:creationId xmlns:a16="http://schemas.microsoft.com/office/drawing/2014/main" id="{19BAA93F-98DF-9286-B203-13311F284F00}"/>
              </a:ext>
            </a:extLst>
          </p:cNvPr>
          <p:cNvSpPr>
            <a:spLocks noGrp="1"/>
          </p:cNvSpPr>
          <p:nvPr>
            <p:ph type="body" sz="quarter" idx="19" hasCustomPrompt="1"/>
          </p:nvPr>
        </p:nvSpPr>
        <p:spPr>
          <a:xfrm>
            <a:off x="10929943" y="6253136"/>
            <a:ext cx="991080" cy="333436"/>
          </a:xfrm>
          <a:custGeom>
            <a:avLst/>
            <a:gdLst>
              <a:gd name="connsiteX0" fmla="*/ 777113 w 991080"/>
              <a:gd name="connsiteY0" fmla="*/ 120969 h 333436"/>
              <a:gd name="connsiteX1" fmla="*/ 777113 w 991080"/>
              <a:gd name="connsiteY1" fmla="*/ 212441 h 333436"/>
              <a:gd name="connsiteX2" fmla="*/ 814693 w 991080"/>
              <a:gd name="connsiteY2" fmla="*/ 212441 h 333436"/>
              <a:gd name="connsiteX3" fmla="*/ 829575 w 991080"/>
              <a:gd name="connsiteY3" fmla="*/ 197054 h 333436"/>
              <a:gd name="connsiteX4" fmla="*/ 829575 w 991080"/>
              <a:gd name="connsiteY4" fmla="*/ 136370 h 333436"/>
              <a:gd name="connsiteX5" fmla="*/ 814693 w 991080"/>
              <a:gd name="connsiteY5" fmla="*/ 120969 h 333436"/>
              <a:gd name="connsiteX6" fmla="*/ 511966 w 991080"/>
              <a:gd name="connsiteY6" fmla="*/ 120969 h 333436"/>
              <a:gd name="connsiteX7" fmla="*/ 511966 w 991080"/>
              <a:gd name="connsiteY7" fmla="*/ 212441 h 333436"/>
              <a:gd name="connsiteX8" fmla="*/ 549546 w 991080"/>
              <a:gd name="connsiteY8" fmla="*/ 212441 h 333436"/>
              <a:gd name="connsiteX9" fmla="*/ 564426 w 991080"/>
              <a:gd name="connsiteY9" fmla="*/ 197054 h 333436"/>
              <a:gd name="connsiteX10" fmla="*/ 564426 w 991080"/>
              <a:gd name="connsiteY10" fmla="*/ 136370 h 333436"/>
              <a:gd name="connsiteX11" fmla="*/ 549546 w 991080"/>
              <a:gd name="connsiteY11" fmla="*/ 120969 h 333436"/>
              <a:gd name="connsiteX12" fmla="*/ 191228 w 991080"/>
              <a:gd name="connsiteY12" fmla="*/ 89978 h 333436"/>
              <a:gd name="connsiteX13" fmla="*/ 190277 w 991080"/>
              <a:gd name="connsiteY13" fmla="*/ 90227 h 333436"/>
              <a:gd name="connsiteX14" fmla="*/ 189581 w 991080"/>
              <a:gd name="connsiteY14" fmla="*/ 90906 h 333436"/>
              <a:gd name="connsiteX15" fmla="*/ 189323 w 991080"/>
              <a:gd name="connsiteY15" fmla="*/ 91832 h 333436"/>
              <a:gd name="connsiteX16" fmla="*/ 189575 w 991080"/>
              <a:gd name="connsiteY16" fmla="*/ 92760 h 333436"/>
              <a:gd name="connsiteX17" fmla="*/ 225952 w 991080"/>
              <a:gd name="connsiteY17" fmla="*/ 154132 h 333436"/>
              <a:gd name="connsiteX18" fmla="*/ 162923 w 991080"/>
              <a:gd name="connsiteY18" fmla="*/ 118717 h 333436"/>
              <a:gd name="connsiteX19" fmla="*/ 161970 w 991080"/>
              <a:gd name="connsiteY19" fmla="*/ 118472 h 333436"/>
              <a:gd name="connsiteX20" fmla="*/ 161020 w 991080"/>
              <a:gd name="connsiteY20" fmla="*/ 118722 h 333436"/>
              <a:gd name="connsiteX21" fmla="*/ 160324 w 991080"/>
              <a:gd name="connsiteY21" fmla="*/ 119401 h 333436"/>
              <a:gd name="connsiteX22" fmla="*/ 160067 w 991080"/>
              <a:gd name="connsiteY22" fmla="*/ 120328 h 333436"/>
              <a:gd name="connsiteX23" fmla="*/ 160067 w 991080"/>
              <a:gd name="connsiteY23" fmla="*/ 213103 h 333436"/>
              <a:gd name="connsiteX24" fmla="*/ 160324 w 991080"/>
              <a:gd name="connsiteY24" fmla="*/ 214030 h 333436"/>
              <a:gd name="connsiteX25" fmla="*/ 161020 w 991080"/>
              <a:gd name="connsiteY25" fmla="*/ 214708 h 333436"/>
              <a:gd name="connsiteX26" fmla="*/ 161970 w 991080"/>
              <a:gd name="connsiteY26" fmla="*/ 214959 h 333436"/>
              <a:gd name="connsiteX27" fmla="*/ 162923 w 991080"/>
              <a:gd name="connsiteY27" fmla="*/ 214714 h 333436"/>
              <a:gd name="connsiteX28" fmla="*/ 225952 w 991080"/>
              <a:gd name="connsiteY28" fmla="*/ 179299 h 333436"/>
              <a:gd name="connsiteX29" fmla="*/ 189635 w 991080"/>
              <a:gd name="connsiteY29" fmla="*/ 240670 h 333436"/>
              <a:gd name="connsiteX30" fmla="*/ 189383 w 991080"/>
              <a:gd name="connsiteY30" fmla="*/ 241598 h 333436"/>
              <a:gd name="connsiteX31" fmla="*/ 189641 w 991080"/>
              <a:gd name="connsiteY31" fmla="*/ 242525 h 333436"/>
              <a:gd name="connsiteX32" fmla="*/ 190337 w 991080"/>
              <a:gd name="connsiteY32" fmla="*/ 243203 h 333436"/>
              <a:gd name="connsiteX33" fmla="*/ 191288 w 991080"/>
              <a:gd name="connsiteY33" fmla="*/ 243453 h 333436"/>
              <a:gd name="connsiteX34" fmla="*/ 286486 w 991080"/>
              <a:gd name="connsiteY34" fmla="*/ 243453 h 333436"/>
              <a:gd name="connsiteX35" fmla="*/ 287437 w 991080"/>
              <a:gd name="connsiteY35" fmla="*/ 243203 h 333436"/>
              <a:gd name="connsiteX36" fmla="*/ 288134 w 991080"/>
              <a:gd name="connsiteY36" fmla="*/ 242525 h 333436"/>
              <a:gd name="connsiteX37" fmla="*/ 288391 w 991080"/>
              <a:gd name="connsiteY37" fmla="*/ 241598 h 333436"/>
              <a:gd name="connsiteX38" fmla="*/ 288139 w 991080"/>
              <a:gd name="connsiteY38" fmla="*/ 240670 h 333436"/>
              <a:gd name="connsiteX39" fmla="*/ 251777 w 991080"/>
              <a:gd name="connsiteY39" fmla="*/ 179299 h 333436"/>
              <a:gd name="connsiteX40" fmla="*/ 314790 w 991080"/>
              <a:gd name="connsiteY40" fmla="*/ 214714 h 333436"/>
              <a:gd name="connsiteX41" fmla="*/ 315745 w 991080"/>
              <a:gd name="connsiteY41" fmla="*/ 214969 h 333436"/>
              <a:gd name="connsiteX42" fmla="*/ 316702 w 991080"/>
              <a:gd name="connsiteY42" fmla="*/ 214721 h 333436"/>
              <a:gd name="connsiteX43" fmla="*/ 317399 w 991080"/>
              <a:gd name="connsiteY43" fmla="*/ 214037 h 333436"/>
              <a:gd name="connsiteX44" fmla="*/ 317647 w 991080"/>
              <a:gd name="connsiteY44" fmla="*/ 213103 h 333436"/>
              <a:gd name="connsiteX45" fmla="*/ 317647 w 991080"/>
              <a:gd name="connsiteY45" fmla="*/ 120328 h 333436"/>
              <a:gd name="connsiteX46" fmla="*/ 317399 w 991080"/>
              <a:gd name="connsiteY46" fmla="*/ 119393 h 333436"/>
              <a:gd name="connsiteX47" fmla="*/ 316702 w 991080"/>
              <a:gd name="connsiteY47" fmla="*/ 118709 h 333436"/>
              <a:gd name="connsiteX48" fmla="*/ 315745 w 991080"/>
              <a:gd name="connsiteY48" fmla="*/ 118461 h 333436"/>
              <a:gd name="connsiteX49" fmla="*/ 314790 w 991080"/>
              <a:gd name="connsiteY49" fmla="*/ 118717 h 333436"/>
              <a:gd name="connsiteX50" fmla="*/ 251777 w 991080"/>
              <a:gd name="connsiteY50" fmla="*/ 154132 h 333436"/>
              <a:gd name="connsiteX51" fmla="*/ 288139 w 991080"/>
              <a:gd name="connsiteY51" fmla="*/ 92760 h 333436"/>
              <a:gd name="connsiteX52" fmla="*/ 288391 w 991080"/>
              <a:gd name="connsiteY52" fmla="*/ 91832 h 333436"/>
              <a:gd name="connsiteX53" fmla="*/ 288134 w 991080"/>
              <a:gd name="connsiteY53" fmla="*/ 90906 h 333436"/>
              <a:gd name="connsiteX54" fmla="*/ 287437 w 991080"/>
              <a:gd name="connsiteY54" fmla="*/ 90227 h 333436"/>
              <a:gd name="connsiteX55" fmla="*/ 286486 w 991080"/>
              <a:gd name="connsiteY55" fmla="*/ 89978 h 333436"/>
              <a:gd name="connsiteX56" fmla="*/ 746614 w 991080"/>
              <a:gd name="connsiteY56" fmla="*/ 89975 h 333436"/>
              <a:gd name="connsiteX57" fmla="*/ 819428 w 991080"/>
              <a:gd name="connsiteY57" fmla="*/ 89975 h 333436"/>
              <a:gd name="connsiteX58" fmla="*/ 863622 w 991080"/>
              <a:gd name="connsiteY58" fmla="*/ 130646 h 333436"/>
              <a:gd name="connsiteX59" fmla="*/ 863622 w 991080"/>
              <a:gd name="connsiteY59" fmla="*/ 202837 h 333436"/>
              <a:gd name="connsiteX60" fmla="*/ 819428 w 991080"/>
              <a:gd name="connsiteY60" fmla="*/ 243508 h 333436"/>
              <a:gd name="connsiteX61" fmla="*/ 746614 w 991080"/>
              <a:gd name="connsiteY61" fmla="*/ 243508 h 333436"/>
              <a:gd name="connsiteX62" fmla="*/ 743006 w 991080"/>
              <a:gd name="connsiteY62" fmla="*/ 239994 h 333436"/>
              <a:gd name="connsiteX63" fmla="*/ 743006 w 991080"/>
              <a:gd name="connsiteY63" fmla="*/ 93489 h 333436"/>
              <a:gd name="connsiteX64" fmla="*/ 746614 w 991080"/>
              <a:gd name="connsiteY64" fmla="*/ 89975 h 333436"/>
              <a:gd name="connsiteX65" fmla="*/ 624298 w 991080"/>
              <a:gd name="connsiteY65" fmla="*/ 89975 h 333436"/>
              <a:gd name="connsiteX66" fmla="*/ 721014 w 991080"/>
              <a:gd name="connsiteY66" fmla="*/ 89975 h 333436"/>
              <a:gd name="connsiteX67" fmla="*/ 724621 w 991080"/>
              <a:gd name="connsiteY67" fmla="*/ 93489 h 333436"/>
              <a:gd name="connsiteX68" fmla="*/ 724621 w 991080"/>
              <a:gd name="connsiteY68" fmla="*/ 117455 h 333436"/>
              <a:gd name="connsiteX69" fmla="*/ 721014 w 991080"/>
              <a:gd name="connsiteY69" fmla="*/ 120969 h 333436"/>
              <a:gd name="connsiteX70" fmla="*/ 654738 w 991080"/>
              <a:gd name="connsiteY70" fmla="*/ 120969 h 333436"/>
              <a:gd name="connsiteX71" fmla="*/ 654738 w 991080"/>
              <a:gd name="connsiteY71" fmla="*/ 154173 h 333436"/>
              <a:gd name="connsiteX72" fmla="*/ 712656 w 991080"/>
              <a:gd name="connsiteY72" fmla="*/ 154173 h 333436"/>
              <a:gd name="connsiteX73" fmla="*/ 716263 w 991080"/>
              <a:gd name="connsiteY73" fmla="*/ 157701 h 333436"/>
              <a:gd name="connsiteX74" fmla="*/ 716263 w 991080"/>
              <a:gd name="connsiteY74" fmla="*/ 181726 h 333436"/>
              <a:gd name="connsiteX75" fmla="*/ 712656 w 991080"/>
              <a:gd name="connsiteY75" fmla="*/ 185240 h 333436"/>
              <a:gd name="connsiteX76" fmla="*/ 654738 w 991080"/>
              <a:gd name="connsiteY76" fmla="*/ 185240 h 333436"/>
              <a:gd name="connsiteX77" fmla="*/ 654738 w 991080"/>
              <a:gd name="connsiteY77" fmla="*/ 239994 h 333436"/>
              <a:gd name="connsiteX78" fmla="*/ 651130 w 991080"/>
              <a:gd name="connsiteY78" fmla="*/ 243508 h 333436"/>
              <a:gd name="connsiteX79" fmla="*/ 624298 w 991080"/>
              <a:gd name="connsiteY79" fmla="*/ 243508 h 333436"/>
              <a:gd name="connsiteX80" fmla="*/ 620690 w 991080"/>
              <a:gd name="connsiteY80" fmla="*/ 239994 h 333436"/>
              <a:gd name="connsiteX81" fmla="*/ 620690 w 991080"/>
              <a:gd name="connsiteY81" fmla="*/ 93489 h 333436"/>
              <a:gd name="connsiteX82" fmla="*/ 624298 w 991080"/>
              <a:gd name="connsiteY82" fmla="*/ 89975 h 333436"/>
              <a:gd name="connsiteX83" fmla="*/ 481496 w 991080"/>
              <a:gd name="connsiteY83" fmla="*/ 89975 h 333436"/>
              <a:gd name="connsiteX84" fmla="*/ 554280 w 991080"/>
              <a:gd name="connsiteY84" fmla="*/ 89975 h 333436"/>
              <a:gd name="connsiteX85" fmla="*/ 598519 w 991080"/>
              <a:gd name="connsiteY85" fmla="*/ 130646 h 333436"/>
              <a:gd name="connsiteX86" fmla="*/ 598519 w 991080"/>
              <a:gd name="connsiteY86" fmla="*/ 202837 h 333436"/>
              <a:gd name="connsiteX87" fmla="*/ 554325 w 991080"/>
              <a:gd name="connsiteY87" fmla="*/ 243508 h 333436"/>
              <a:gd name="connsiteX88" fmla="*/ 481496 w 991080"/>
              <a:gd name="connsiteY88" fmla="*/ 243508 h 333436"/>
              <a:gd name="connsiteX89" fmla="*/ 477888 w 991080"/>
              <a:gd name="connsiteY89" fmla="*/ 239994 h 333436"/>
              <a:gd name="connsiteX90" fmla="*/ 477888 w 991080"/>
              <a:gd name="connsiteY90" fmla="*/ 93489 h 333436"/>
              <a:gd name="connsiteX91" fmla="*/ 481496 w 991080"/>
              <a:gd name="connsiteY91" fmla="*/ 89975 h 333436"/>
              <a:gd name="connsiteX92" fmla="*/ 925345 w 991080"/>
              <a:gd name="connsiteY92" fmla="*/ 88877 h 333436"/>
              <a:gd name="connsiteX93" fmla="*/ 978107 w 991080"/>
              <a:gd name="connsiteY93" fmla="*/ 89536 h 333436"/>
              <a:gd name="connsiteX94" fmla="*/ 981717 w 991080"/>
              <a:gd name="connsiteY94" fmla="*/ 93050 h 333436"/>
              <a:gd name="connsiteX95" fmla="*/ 981717 w 991080"/>
              <a:gd name="connsiteY95" fmla="*/ 117016 h 333436"/>
              <a:gd name="connsiteX96" fmla="*/ 978107 w 991080"/>
              <a:gd name="connsiteY96" fmla="*/ 120529 h 333436"/>
              <a:gd name="connsiteX97" fmla="*/ 930005 w 991080"/>
              <a:gd name="connsiteY97" fmla="*/ 119870 h 333436"/>
              <a:gd name="connsiteX98" fmla="*/ 915123 w 991080"/>
              <a:gd name="connsiteY98" fmla="*/ 130866 h 333436"/>
              <a:gd name="connsiteX99" fmla="*/ 915123 w 991080"/>
              <a:gd name="connsiteY99" fmla="*/ 133955 h 333436"/>
              <a:gd name="connsiteX100" fmla="*/ 925044 w 991080"/>
              <a:gd name="connsiteY100" fmla="*/ 146048 h 333436"/>
              <a:gd name="connsiteX101" fmla="*/ 959990 w 991080"/>
              <a:gd name="connsiteY101" fmla="*/ 157263 h 333436"/>
              <a:gd name="connsiteX102" fmla="*/ 991080 w 991080"/>
              <a:gd name="connsiteY102" fmla="*/ 194229 h 333436"/>
              <a:gd name="connsiteX103" fmla="*/ 991080 w 991080"/>
              <a:gd name="connsiteY103" fmla="*/ 206322 h 333436"/>
              <a:gd name="connsiteX104" fmla="*/ 946990 w 991080"/>
              <a:gd name="connsiteY104" fmla="*/ 244635 h 333436"/>
              <a:gd name="connsiteX105" fmla="*/ 885991 w 991080"/>
              <a:gd name="connsiteY105" fmla="*/ 243977 h 333436"/>
              <a:gd name="connsiteX106" fmla="*/ 882383 w 991080"/>
              <a:gd name="connsiteY106" fmla="*/ 240463 h 333436"/>
              <a:gd name="connsiteX107" fmla="*/ 882383 w 991080"/>
              <a:gd name="connsiteY107" fmla="*/ 216497 h 333436"/>
              <a:gd name="connsiteX108" fmla="*/ 885991 w 991080"/>
              <a:gd name="connsiteY108" fmla="*/ 212969 h 333436"/>
              <a:gd name="connsiteX109" fmla="*/ 942256 w 991080"/>
              <a:gd name="connsiteY109" fmla="*/ 213642 h 333436"/>
              <a:gd name="connsiteX110" fmla="*/ 956914 w 991080"/>
              <a:gd name="connsiteY110" fmla="*/ 201930 h 333436"/>
              <a:gd name="connsiteX111" fmla="*/ 956914 w 991080"/>
              <a:gd name="connsiteY111" fmla="*/ 198372 h 333436"/>
              <a:gd name="connsiteX112" fmla="*/ 946990 w 991080"/>
              <a:gd name="connsiteY112" fmla="*/ 185620 h 333436"/>
              <a:gd name="connsiteX113" fmla="*/ 912267 w 991080"/>
              <a:gd name="connsiteY113" fmla="*/ 174626 h 333436"/>
              <a:gd name="connsiteX114" fmla="*/ 881166 w 991080"/>
              <a:gd name="connsiteY114" fmla="*/ 137908 h 333436"/>
              <a:gd name="connsiteX115" fmla="*/ 881166 w 991080"/>
              <a:gd name="connsiteY115" fmla="*/ 126034 h 333436"/>
              <a:gd name="connsiteX116" fmla="*/ 925345 w 991080"/>
              <a:gd name="connsiteY116" fmla="*/ 88877 h 333436"/>
              <a:gd name="connsiteX117" fmla="*/ 199827 w 991080"/>
              <a:gd name="connsiteY117" fmla="*/ 28 h 333436"/>
              <a:gd name="connsiteX118" fmla="*/ 475181 w 991080"/>
              <a:gd name="connsiteY118" fmla="*/ 28 h 333436"/>
              <a:gd name="connsiteX119" fmla="*/ 476520 w 991080"/>
              <a:gd name="connsiteY119" fmla="*/ 207 h 333436"/>
              <a:gd name="connsiteX120" fmla="*/ 477528 w 991080"/>
              <a:gd name="connsiteY120" fmla="*/ 1084 h 333436"/>
              <a:gd name="connsiteX121" fmla="*/ 477861 w 991080"/>
              <a:gd name="connsiteY121" fmla="*/ 2360 h 333436"/>
              <a:gd name="connsiteX122" fmla="*/ 477406 w 991080"/>
              <a:gd name="connsiteY122" fmla="*/ 3600 h 333436"/>
              <a:gd name="connsiteX123" fmla="*/ 283885 w 991080"/>
              <a:gd name="connsiteY123" fmla="*/ 330080 h 333436"/>
              <a:gd name="connsiteX124" fmla="*/ 281459 w 991080"/>
              <a:gd name="connsiteY124" fmla="*/ 332601 h 333436"/>
              <a:gd name="connsiteX125" fmla="*/ 278008 w 991080"/>
              <a:gd name="connsiteY125" fmla="*/ 333403 h 333436"/>
              <a:gd name="connsiteX126" fmla="*/ 2713 w 991080"/>
              <a:gd name="connsiteY126" fmla="*/ 333403 h 333436"/>
              <a:gd name="connsiteX127" fmla="*/ 1359 w 991080"/>
              <a:gd name="connsiteY127" fmla="*/ 333235 h 333436"/>
              <a:gd name="connsiteX128" fmla="*/ 337 w 991080"/>
              <a:gd name="connsiteY128" fmla="*/ 332353 h 333436"/>
              <a:gd name="connsiteX129" fmla="*/ 3 w 991080"/>
              <a:gd name="connsiteY129" fmla="*/ 331064 h 333436"/>
              <a:gd name="connsiteX130" fmla="*/ 473 w 991080"/>
              <a:gd name="connsiteY130" fmla="*/ 329816 h 333436"/>
              <a:gd name="connsiteX131" fmla="*/ 193949 w 991080"/>
              <a:gd name="connsiteY131" fmla="*/ 3351 h 333436"/>
              <a:gd name="connsiteX132" fmla="*/ 196375 w 991080"/>
              <a:gd name="connsiteY132" fmla="*/ 829 h 333436"/>
              <a:gd name="connsiteX133" fmla="*/ 199827 w 991080"/>
              <a:gd name="connsiteY133" fmla="*/ 28 h 333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Lst>
            <a:rect l="l" t="t" r="r" b="b"/>
            <a:pathLst>
              <a:path w="991080" h="333436">
                <a:moveTo>
                  <a:pt x="777113" y="120969"/>
                </a:moveTo>
                <a:lnTo>
                  <a:pt x="777113" y="212441"/>
                </a:lnTo>
                <a:lnTo>
                  <a:pt x="814693" y="212441"/>
                </a:lnTo>
                <a:cubicBezTo>
                  <a:pt x="825291" y="212441"/>
                  <a:pt x="829575" y="208049"/>
                  <a:pt x="829575" y="197054"/>
                </a:cubicBezTo>
                <a:lnTo>
                  <a:pt x="829575" y="136370"/>
                </a:lnTo>
                <a:cubicBezTo>
                  <a:pt x="829575" y="125361"/>
                  <a:pt x="825291" y="120969"/>
                  <a:pt x="814693" y="120969"/>
                </a:cubicBezTo>
                <a:close/>
                <a:moveTo>
                  <a:pt x="511966" y="120969"/>
                </a:moveTo>
                <a:lnTo>
                  <a:pt x="511966" y="212441"/>
                </a:lnTo>
                <a:lnTo>
                  <a:pt x="549546" y="212441"/>
                </a:lnTo>
                <a:cubicBezTo>
                  <a:pt x="560143" y="212441"/>
                  <a:pt x="564426" y="208049"/>
                  <a:pt x="564426" y="197054"/>
                </a:cubicBezTo>
                <a:lnTo>
                  <a:pt x="564426" y="136370"/>
                </a:lnTo>
                <a:cubicBezTo>
                  <a:pt x="564426" y="125361"/>
                  <a:pt x="560143" y="120969"/>
                  <a:pt x="549546" y="120969"/>
                </a:cubicBezTo>
                <a:close/>
                <a:moveTo>
                  <a:pt x="191228" y="89978"/>
                </a:moveTo>
                <a:cubicBezTo>
                  <a:pt x="190894" y="89979"/>
                  <a:pt x="190566" y="90065"/>
                  <a:pt x="190277" y="90227"/>
                </a:cubicBezTo>
                <a:cubicBezTo>
                  <a:pt x="189988" y="90390"/>
                  <a:pt x="189747" y="90624"/>
                  <a:pt x="189581" y="90906"/>
                </a:cubicBezTo>
                <a:cubicBezTo>
                  <a:pt x="189413" y="91187"/>
                  <a:pt x="189324" y="91507"/>
                  <a:pt x="189323" y="91832"/>
                </a:cubicBezTo>
                <a:cubicBezTo>
                  <a:pt x="189322" y="92157"/>
                  <a:pt x="189409" y="92477"/>
                  <a:pt x="189575" y="92760"/>
                </a:cubicBezTo>
                <a:lnTo>
                  <a:pt x="225952" y="154132"/>
                </a:lnTo>
                <a:lnTo>
                  <a:pt x="162923" y="118717"/>
                </a:lnTo>
                <a:cubicBezTo>
                  <a:pt x="162633" y="118555"/>
                  <a:pt x="162305" y="118471"/>
                  <a:pt x="161970" y="118472"/>
                </a:cubicBezTo>
                <a:cubicBezTo>
                  <a:pt x="161637" y="118473"/>
                  <a:pt x="161308" y="118559"/>
                  <a:pt x="161020" y="118722"/>
                </a:cubicBezTo>
                <a:cubicBezTo>
                  <a:pt x="160730" y="118886"/>
                  <a:pt x="160490" y="119119"/>
                  <a:pt x="160324" y="119401"/>
                </a:cubicBezTo>
                <a:cubicBezTo>
                  <a:pt x="160156" y="119683"/>
                  <a:pt x="160067" y="120002"/>
                  <a:pt x="160067" y="120328"/>
                </a:cubicBezTo>
                <a:lnTo>
                  <a:pt x="160067" y="213103"/>
                </a:lnTo>
                <a:cubicBezTo>
                  <a:pt x="160067" y="213429"/>
                  <a:pt x="160156" y="213748"/>
                  <a:pt x="160324" y="214030"/>
                </a:cubicBezTo>
                <a:cubicBezTo>
                  <a:pt x="160490" y="214311"/>
                  <a:pt x="160730" y="214545"/>
                  <a:pt x="161020" y="214708"/>
                </a:cubicBezTo>
                <a:cubicBezTo>
                  <a:pt x="161308" y="214871"/>
                  <a:pt x="161637" y="214958"/>
                  <a:pt x="161970" y="214959"/>
                </a:cubicBezTo>
                <a:cubicBezTo>
                  <a:pt x="162305" y="214959"/>
                  <a:pt x="162633" y="214875"/>
                  <a:pt x="162923" y="214714"/>
                </a:cubicBezTo>
                <a:lnTo>
                  <a:pt x="225952" y="179299"/>
                </a:lnTo>
                <a:lnTo>
                  <a:pt x="189635" y="240670"/>
                </a:lnTo>
                <a:cubicBezTo>
                  <a:pt x="189469" y="240953"/>
                  <a:pt x="189382" y="241273"/>
                  <a:pt x="189383" y="241598"/>
                </a:cubicBezTo>
                <a:cubicBezTo>
                  <a:pt x="189384" y="241924"/>
                  <a:pt x="189473" y="242243"/>
                  <a:pt x="189641" y="242525"/>
                </a:cubicBezTo>
                <a:cubicBezTo>
                  <a:pt x="189807" y="242806"/>
                  <a:pt x="190048" y="243040"/>
                  <a:pt x="190337" y="243203"/>
                </a:cubicBezTo>
                <a:cubicBezTo>
                  <a:pt x="190626" y="243366"/>
                  <a:pt x="190954" y="243452"/>
                  <a:pt x="191288" y="243453"/>
                </a:cubicBezTo>
                <a:lnTo>
                  <a:pt x="286486" y="243453"/>
                </a:lnTo>
                <a:cubicBezTo>
                  <a:pt x="286819" y="243452"/>
                  <a:pt x="287148" y="243366"/>
                  <a:pt x="287437" y="243203"/>
                </a:cubicBezTo>
                <a:cubicBezTo>
                  <a:pt x="287726" y="243040"/>
                  <a:pt x="287966" y="242806"/>
                  <a:pt x="288134" y="242525"/>
                </a:cubicBezTo>
                <a:cubicBezTo>
                  <a:pt x="288301" y="242243"/>
                  <a:pt x="288390" y="241924"/>
                  <a:pt x="288391" y="241598"/>
                </a:cubicBezTo>
                <a:cubicBezTo>
                  <a:pt x="288392" y="241273"/>
                  <a:pt x="288304" y="240953"/>
                  <a:pt x="288139" y="240670"/>
                </a:cubicBezTo>
                <a:lnTo>
                  <a:pt x="251777" y="179299"/>
                </a:lnTo>
                <a:lnTo>
                  <a:pt x="314790" y="214714"/>
                </a:lnTo>
                <a:cubicBezTo>
                  <a:pt x="315080" y="214879"/>
                  <a:pt x="315410" y="214968"/>
                  <a:pt x="315745" y="214969"/>
                </a:cubicBezTo>
                <a:cubicBezTo>
                  <a:pt x="316081" y="214971"/>
                  <a:pt x="316412" y="214885"/>
                  <a:pt x="316702" y="214721"/>
                </a:cubicBezTo>
                <a:cubicBezTo>
                  <a:pt x="316993" y="214558"/>
                  <a:pt x="317233" y="214321"/>
                  <a:pt x="317399" y="214037"/>
                </a:cubicBezTo>
                <a:cubicBezTo>
                  <a:pt x="317565" y="213753"/>
                  <a:pt x="317651" y="213430"/>
                  <a:pt x="317647" y="213103"/>
                </a:cubicBezTo>
                <a:lnTo>
                  <a:pt x="317647" y="120328"/>
                </a:lnTo>
                <a:cubicBezTo>
                  <a:pt x="317651" y="120000"/>
                  <a:pt x="317565" y="119678"/>
                  <a:pt x="317399" y="119393"/>
                </a:cubicBezTo>
                <a:cubicBezTo>
                  <a:pt x="317233" y="119109"/>
                  <a:pt x="316993" y="118873"/>
                  <a:pt x="316702" y="118709"/>
                </a:cubicBezTo>
                <a:cubicBezTo>
                  <a:pt x="316412" y="118546"/>
                  <a:pt x="316081" y="118460"/>
                  <a:pt x="315745" y="118461"/>
                </a:cubicBezTo>
                <a:cubicBezTo>
                  <a:pt x="315410" y="118463"/>
                  <a:pt x="315080" y="118550"/>
                  <a:pt x="314790" y="118717"/>
                </a:cubicBezTo>
                <a:lnTo>
                  <a:pt x="251777" y="154132"/>
                </a:lnTo>
                <a:lnTo>
                  <a:pt x="288139" y="92760"/>
                </a:lnTo>
                <a:cubicBezTo>
                  <a:pt x="288304" y="92477"/>
                  <a:pt x="288392" y="92157"/>
                  <a:pt x="288391" y="91832"/>
                </a:cubicBezTo>
                <a:cubicBezTo>
                  <a:pt x="288390" y="91507"/>
                  <a:pt x="288301" y="91187"/>
                  <a:pt x="288134" y="90906"/>
                </a:cubicBezTo>
                <a:cubicBezTo>
                  <a:pt x="287966" y="90624"/>
                  <a:pt x="287726" y="90390"/>
                  <a:pt x="287437" y="90227"/>
                </a:cubicBezTo>
                <a:cubicBezTo>
                  <a:pt x="287148" y="90065"/>
                  <a:pt x="286819" y="89979"/>
                  <a:pt x="286486" y="89978"/>
                </a:cubicBezTo>
                <a:close/>
                <a:moveTo>
                  <a:pt x="746614" y="89975"/>
                </a:moveTo>
                <a:lnTo>
                  <a:pt x="819428" y="89975"/>
                </a:lnTo>
                <a:cubicBezTo>
                  <a:pt x="847388" y="89975"/>
                  <a:pt x="863622" y="105142"/>
                  <a:pt x="863622" y="130646"/>
                </a:cubicBezTo>
                <a:lnTo>
                  <a:pt x="863622" y="202837"/>
                </a:lnTo>
                <a:cubicBezTo>
                  <a:pt x="863622" y="228341"/>
                  <a:pt x="847388" y="243508"/>
                  <a:pt x="819428" y="243508"/>
                </a:cubicBezTo>
                <a:lnTo>
                  <a:pt x="746614" y="243508"/>
                </a:lnTo>
                <a:cubicBezTo>
                  <a:pt x="743908" y="243508"/>
                  <a:pt x="743006" y="242630"/>
                  <a:pt x="743006" y="239994"/>
                </a:cubicBezTo>
                <a:lnTo>
                  <a:pt x="743006" y="93489"/>
                </a:lnTo>
                <a:cubicBezTo>
                  <a:pt x="743006" y="90853"/>
                  <a:pt x="743908" y="89975"/>
                  <a:pt x="746614" y="89975"/>
                </a:cubicBezTo>
                <a:close/>
                <a:moveTo>
                  <a:pt x="624298" y="89975"/>
                </a:moveTo>
                <a:lnTo>
                  <a:pt x="721014" y="89975"/>
                </a:lnTo>
                <a:cubicBezTo>
                  <a:pt x="723719" y="89975"/>
                  <a:pt x="724621" y="90853"/>
                  <a:pt x="724621" y="93489"/>
                </a:cubicBezTo>
                <a:lnTo>
                  <a:pt x="724621" y="117455"/>
                </a:lnTo>
                <a:cubicBezTo>
                  <a:pt x="724621" y="120091"/>
                  <a:pt x="723719" y="120969"/>
                  <a:pt x="721014" y="120969"/>
                </a:cubicBezTo>
                <a:lnTo>
                  <a:pt x="654738" y="120969"/>
                </a:lnTo>
                <a:lnTo>
                  <a:pt x="654738" y="154173"/>
                </a:lnTo>
                <a:lnTo>
                  <a:pt x="712656" y="154173"/>
                </a:lnTo>
                <a:cubicBezTo>
                  <a:pt x="715362" y="154173"/>
                  <a:pt x="716263" y="155051"/>
                  <a:pt x="716263" y="157701"/>
                </a:cubicBezTo>
                <a:lnTo>
                  <a:pt x="716263" y="181726"/>
                </a:lnTo>
                <a:cubicBezTo>
                  <a:pt x="716263" y="184361"/>
                  <a:pt x="715362" y="185240"/>
                  <a:pt x="712656" y="185240"/>
                </a:cubicBezTo>
                <a:lnTo>
                  <a:pt x="654738" y="185240"/>
                </a:lnTo>
                <a:lnTo>
                  <a:pt x="654738" y="239994"/>
                </a:lnTo>
                <a:cubicBezTo>
                  <a:pt x="654738" y="242630"/>
                  <a:pt x="653836" y="243508"/>
                  <a:pt x="651130" y="243508"/>
                </a:cubicBezTo>
                <a:lnTo>
                  <a:pt x="624298" y="243508"/>
                </a:lnTo>
                <a:cubicBezTo>
                  <a:pt x="621592" y="243508"/>
                  <a:pt x="620690" y="242630"/>
                  <a:pt x="620690" y="239994"/>
                </a:cubicBezTo>
                <a:lnTo>
                  <a:pt x="620690" y="93489"/>
                </a:lnTo>
                <a:cubicBezTo>
                  <a:pt x="620690" y="90853"/>
                  <a:pt x="621592" y="89975"/>
                  <a:pt x="624298" y="89975"/>
                </a:cubicBezTo>
                <a:close/>
                <a:moveTo>
                  <a:pt x="481496" y="89975"/>
                </a:moveTo>
                <a:lnTo>
                  <a:pt x="554280" y="89975"/>
                </a:lnTo>
                <a:cubicBezTo>
                  <a:pt x="582210" y="89975"/>
                  <a:pt x="598475" y="105142"/>
                  <a:pt x="598519" y="130646"/>
                </a:cubicBezTo>
                <a:lnTo>
                  <a:pt x="598519" y="202837"/>
                </a:lnTo>
                <a:cubicBezTo>
                  <a:pt x="598519" y="228341"/>
                  <a:pt x="582285" y="243508"/>
                  <a:pt x="554325" y="243508"/>
                </a:cubicBezTo>
                <a:lnTo>
                  <a:pt x="481496" y="243508"/>
                </a:lnTo>
                <a:cubicBezTo>
                  <a:pt x="478790" y="243508"/>
                  <a:pt x="477888" y="242630"/>
                  <a:pt x="477888" y="239994"/>
                </a:cubicBezTo>
                <a:lnTo>
                  <a:pt x="477888" y="93489"/>
                </a:lnTo>
                <a:cubicBezTo>
                  <a:pt x="477888" y="90853"/>
                  <a:pt x="478790" y="89975"/>
                  <a:pt x="481496" y="89975"/>
                </a:cubicBezTo>
                <a:close/>
                <a:moveTo>
                  <a:pt x="925345" y="88877"/>
                </a:moveTo>
                <a:cubicBezTo>
                  <a:pt x="949922" y="88877"/>
                  <a:pt x="978107" y="89536"/>
                  <a:pt x="978107" y="89536"/>
                </a:cubicBezTo>
                <a:cubicBezTo>
                  <a:pt x="980812" y="89536"/>
                  <a:pt x="981717" y="90414"/>
                  <a:pt x="981717" y="93050"/>
                </a:cubicBezTo>
                <a:lnTo>
                  <a:pt x="981717" y="117016"/>
                </a:lnTo>
                <a:cubicBezTo>
                  <a:pt x="981717" y="119651"/>
                  <a:pt x="980812" y="120529"/>
                  <a:pt x="978107" y="120529"/>
                </a:cubicBezTo>
                <a:cubicBezTo>
                  <a:pt x="978107" y="120529"/>
                  <a:pt x="952327" y="119870"/>
                  <a:pt x="930005" y="119870"/>
                </a:cubicBezTo>
                <a:cubicBezTo>
                  <a:pt x="919407" y="119870"/>
                  <a:pt x="915123" y="119870"/>
                  <a:pt x="915123" y="130866"/>
                </a:cubicBezTo>
                <a:lnTo>
                  <a:pt x="915123" y="133955"/>
                </a:lnTo>
                <a:cubicBezTo>
                  <a:pt x="915123" y="142080"/>
                  <a:pt x="917152" y="143617"/>
                  <a:pt x="925044" y="146048"/>
                </a:cubicBezTo>
                <a:lnTo>
                  <a:pt x="959990" y="157263"/>
                </a:lnTo>
                <a:cubicBezTo>
                  <a:pt x="974878" y="161874"/>
                  <a:pt x="991080" y="166486"/>
                  <a:pt x="991080" y="194229"/>
                </a:cubicBezTo>
                <a:lnTo>
                  <a:pt x="991080" y="206322"/>
                </a:lnTo>
                <a:cubicBezTo>
                  <a:pt x="991080" y="231796"/>
                  <a:pt x="975173" y="244635"/>
                  <a:pt x="946990" y="244635"/>
                </a:cubicBezTo>
                <a:cubicBezTo>
                  <a:pt x="918806" y="244635"/>
                  <a:pt x="885991" y="243977"/>
                  <a:pt x="885991" y="243977"/>
                </a:cubicBezTo>
                <a:cubicBezTo>
                  <a:pt x="883285" y="243977"/>
                  <a:pt x="882383" y="243098"/>
                  <a:pt x="882383" y="240463"/>
                </a:cubicBezTo>
                <a:lnTo>
                  <a:pt x="882383" y="216497"/>
                </a:lnTo>
                <a:cubicBezTo>
                  <a:pt x="882383" y="213862"/>
                  <a:pt x="883285" y="212969"/>
                  <a:pt x="885991" y="212969"/>
                </a:cubicBezTo>
                <a:cubicBezTo>
                  <a:pt x="885991" y="212969"/>
                  <a:pt x="918205" y="213642"/>
                  <a:pt x="942256" y="213642"/>
                </a:cubicBezTo>
                <a:cubicBezTo>
                  <a:pt x="952856" y="213642"/>
                  <a:pt x="956914" y="212910"/>
                  <a:pt x="956914" y="201930"/>
                </a:cubicBezTo>
                <a:lnTo>
                  <a:pt x="956914" y="198372"/>
                </a:lnTo>
                <a:cubicBezTo>
                  <a:pt x="956914" y="190247"/>
                  <a:pt x="954885" y="188036"/>
                  <a:pt x="946990" y="185620"/>
                </a:cubicBezTo>
                <a:lnTo>
                  <a:pt x="912267" y="174626"/>
                </a:lnTo>
                <a:cubicBezTo>
                  <a:pt x="897159" y="170014"/>
                  <a:pt x="881166" y="165387"/>
                  <a:pt x="881166" y="137908"/>
                </a:cubicBezTo>
                <a:lnTo>
                  <a:pt x="881166" y="126034"/>
                </a:lnTo>
                <a:cubicBezTo>
                  <a:pt x="881166" y="100590"/>
                  <a:pt x="897385" y="88877"/>
                  <a:pt x="925345" y="88877"/>
                </a:cubicBezTo>
                <a:close/>
                <a:moveTo>
                  <a:pt x="199827" y="28"/>
                </a:moveTo>
                <a:lnTo>
                  <a:pt x="475181" y="28"/>
                </a:lnTo>
                <a:cubicBezTo>
                  <a:pt x="475636" y="-44"/>
                  <a:pt x="476102" y="19"/>
                  <a:pt x="476520" y="207"/>
                </a:cubicBezTo>
                <a:cubicBezTo>
                  <a:pt x="476938" y="395"/>
                  <a:pt x="477290" y="701"/>
                  <a:pt x="477528" y="1084"/>
                </a:cubicBezTo>
                <a:cubicBezTo>
                  <a:pt x="477767" y="1468"/>
                  <a:pt x="477883" y="1912"/>
                  <a:pt x="477861" y="2360"/>
                </a:cubicBezTo>
                <a:cubicBezTo>
                  <a:pt x="477839" y="2808"/>
                  <a:pt x="477681" y="3240"/>
                  <a:pt x="477406" y="3600"/>
                </a:cubicBezTo>
                <a:lnTo>
                  <a:pt x="283885" y="330080"/>
                </a:lnTo>
                <a:cubicBezTo>
                  <a:pt x="283348" y="331133"/>
                  <a:pt x="282505" y="332010"/>
                  <a:pt x="281459" y="332601"/>
                </a:cubicBezTo>
                <a:cubicBezTo>
                  <a:pt x="280414" y="333192"/>
                  <a:pt x="279214" y="333470"/>
                  <a:pt x="278008" y="333403"/>
                </a:cubicBezTo>
                <a:lnTo>
                  <a:pt x="2713" y="333403"/>
                </a:lnTo>
                <a:cubicBezTo>
                  <a:pt x="2254" y="333481"/>
                  <a:pt x="1783" y="333422"/>
                  <a:pt x="1359" y="333235"/>
                </a:cubicBezTo>
                <a:cubicBezTo>
                  <a:pt x="935" y="333048"/>
                  <a:pt x="579" y="332740"/>
                  <a:pt x="337" y="332353"/>
                </a:cubicBezTo>
                <a:cubicBezTo>
                  <a:pt x="95" y="331966"/>
                  <a:pt x="-21" y="331517"/>
                  <a:pt x="3" y="331064"/>
                </a:cubicBezTo>
                <a:cubicBezTo>
                  <a:pt x="27" y="330611"/>
                  <a:pt x="191" y="330177"/>
                  <a:pt x="473" y="329816"/>
                </a:cubicBezTo>
                <a:lnTo>
                  <a:pt x="193949" y="3351"/>
                </a:lnTo>
                <a:cubicBezTo>
                  <a:pt x="194486" y="2297"/>
                  <a:pt x="195330" y="1420"/>
                  <a:pt x="196375" y="829"/>
                </a:cubicBezTo>
                <a:cubicBezTo>
                  <a:pt x="197420" y="238"/>
                  <a:pt x="198620" y="-41"/>
                  <a:pt x="199827" y="28"/>
                </a:cubicBezTo>
                <a:close/>
              </a:path>
            </a:pathLst>
          </a:custGeom>
          <a:solidFill>
            <a:schemeClr val="accent1"/>
          </a:solidFill>
        </p:spPr>
        <p:txBody>
          <a:bodyPr wrap="square">
            <a:noAutofit/>
          </a:bodyPr>
          <a:lstStyle>
            <a:lvl1pPr marL="126000" indent="0">
              <a:buFontTx/>
              <a:buNone/>
              <a:defRPr sz="800">
                <a:noFill/>
              </a:defRPr>
            </a:lvl1pPr>
          </a:lstStyle>
          <a:p>
            <a:pPr lvl="0"/>
            <a:r>
              <a:rPr lang="en-GB"/>
              <a:t>Set text to 'No Fill'</a:t>
            </a:r>
          </a:p>
        </p:txBody>
      </p:sp>
    </p:spTree>
    <p:extLst>
      <p:ext uri="{BB962C8B-B14F-4D97-AF65-F5344CB8AC3E}">
        <p14:creationId xmlns:p14="http://schemas.microsoft.com/office/powerpoint/2010/main" val="177179782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Breaker D (dark image)">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14B640C6-80CE-C318-E73E-B7EBC2749BBC}"/>
              </a:ext>
            </a:extLst>
          </p:cNvPr>
          <p:cNvSpPr>
            <a:spLocks noGrp="1"/>
          </p:cNvSpPr>
          <p:nvPr>
            <p:ph type="pic" sz="quarter" idx="18" hasCustomPrompt="1"/>
          </p:nvPr>
        </p:nvSpPr>
        <p:spPr>
          <a:xfrm>
            <a:off x="6184900" y="0"/>
            <a:ext cx="6008300" cy="6858000"/>
          </a:xfrm>
          <a:custGeom>
            <a:avLst/>
            <a:gdLst>
              <a:gd name="connsiteX0" fmla="*/ 0 w 12195988"/>
              <a:gd name="connsiteY0" fmla="*/ 0 h 6858000"/>
              <a:gd name="connsiteX1" fmla="*/ 2788 w 12195988"/>
              <a:gd name="connsiteY1" fmla="*/ 0 h 6858000"/>
              <a:gd name="connsiteX2" fmla="*/ 12193200 w 12195988"/>
              <a:gd name="connsiteY2" fmla="*/ 0 h 6858000"/>
              <a:gd name="connsiteX3" fmla="*/ 12194788 w 12195988"/>
              <a:gd name="connsiteY3" fmla="*/ 0 h 6858000"/>
              <a:gd name="connsiteX4" fmla="*/ 12195988 w 12195988"/>
              <a:gd name="connsiteY4" fmla="*/ 0 h 6858000"/>
              <a:gd name="connsiteX5" fmla="*/ 12195988 w 12195988"/>
              <a:gd name="connsiteY5" fmla="*/ 6858000 h 6858000"/>
              <a:gd name="connsiteX6" fmla="*/ 12194788 w 12195988"/>
              <a:gd name="connsiteY6" fmla="*/ 6858000 h 6858000"/>
              <a:gd name="connsiteX7" fmla="*/ 12193200 w 12195988"/>
              <a:gd name="connsiteY7" fmla="*/ 6858000 h 6858000"/>
              <a:gd name="connsiteX8" fmla="*/ 2788 w 12195988"/>
              <a:gd name="connsiteY8" fmla="*/ 6858000 h 6858000"/>
              <a:gd name="connsiteX9" fmla="*/ 0 w 12195988"/>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5988" h="6858000">
                <a:moveTo>
                  <a:pt x="0" y="0"/>
                </a:moveTo>
                <a:lnTo>
                  <a:pt x="2788" y="0"/>
                </a:lnTo>
                <a:lnTo>
                  <a:pt x="12193200" y="0"/>
                </a:lnTo>
                <a:lnTo>
                  <a:pt x="12194788" y="0"/>
                </a:lnTo>
                <a:lnTo>
                  <a:pt x="12195988" y="0"/>
                </a:lnTo>
                <a:lnTo>
                  <a:pt x="12195988" y="6858000"/>
                </a:lnTo>
                <a:lnTo>
                  <a:pt x="12194788" y="6858000"/>
                </a:lnTo>
                <a:lnTo>
                  <a:pt x="12193200" y="6858000"/>
                </a:lnTo>
                <a:lnTo>
                  <a:pt x="2788" y="6858000"/>
                </a:lnTo>
                <a:lnTo>
                  <a:pt x="0" y="6858000"/>
                </a:lnTo>
                <a:close/>
              </a:path>
            </a:pathLst>
          </a:custGeom>
          <a:solidFill>
            <a:schemeClr val="bg1">
              <a:lumMod val="85000"/>
            </a:schemeClr>
          </a:solidFill>
        </p:spPr>
        <p:txBody>
          <a:bodyPr wrap="square" bIns="648000" anchor="ctr">
            <a:noAutofit/>
          </a:bodyPr>
          <a:lstStyle>
            <a:lvl1pPr marL="126000" indent="0" algn="ctr">
              <a:buNone/>
              <a:defRPr/>
            </a:lvl1pPr>
          </a:lstStyle>
          <a:p>
            <a:r>
              <a:rPr lang="en-GB"/>
              <a:t>Click icon to add dark picture</a:t>
            </a:r>
          </a:p>
        </p:txBody>
      </p:sp>
      <p:sp>
        <p:nvSpPr>
          <p:cNvPr id="4" name="Background">
            <a:extLst>
              <a:ext uri="{FF2B5EF4-FFF2-40B4-BE49-F238E27FC236}">
                <a16:creationId xmlns:a16="http://schemas.microsoft.com/office/drawing/2014/main" id="{FE78B44B-1DEA-D179-6ED7-35DF3C63B138}"/>
              </a:ext>
            </a:extLst>
          </p:cNvPr>
          <p:cNvSpPr/>
          <p:nvPr userDrawn="1"/>
        </p:nvSpPr>
        <p:spPr>
          <a:xfrm>
            <a:off x="0" y="0"/>
            <a:ext cx="61849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a:prstGeom prst="rect">
            <a:avLst/>
          </a:prstGeom>
        </p:spPr>
        <p:txBody>
          <a:bodyPr/>
          <a:lstStyle>
            <a:lvl1pPr>
              <a:defRPr sz="100">
                <a:noFill/>
              </a:defRPr>
            </a:lvl1pPr>
          </a:lstStyle>
          <a:p>
            <a:fld id="{BA5487F4-E653-48AC-9AD9-E10C4B78401F}" type="datetime4">
              <a:rPr lang="en-GB" smtClean="0"/>
              <a:t>20 February 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2" name="Title 1"/>
          <p:cNvSpPr>
            <a:spLocks noGrp="1"/>
          </p:cNvSpPr>
          <p:nvPr>
            <p:ph type="ctrTitle" hasCustomPrompt="1"/>
          </p:nvPr>
        </p:nvSpPr>
        <p:spPr bwMode="white">
          <a:xfrm>
            <a:off x="269876" y="269875"/>
            <a:ext cx="4749799" cy="1416050"/>
          </a:xfrm>
        </p:spPr>
        <p:txBody>
          <a:bodyPr anchor="t"/>
          <a:lstStyle>
            <a:lvl1pPr algn="l">
              <a:defRPr sz="4400">
                <a:solidFill>
                  <a:schemeClr val="bg1"/>
                </a:solidFill>
              </a:defRPr>
            </a:lvl1pPr>
          </a:lstStyle>
          <a:p>
            <a:r>
              <a:rPr lang="en-GB"/>
              <a:t>Click to add title</a:t>
            </a:r>
          </a:p>
        </p:txBody>
      </p:sp>
      <p:sp>
        <p:nvSpPr>
          <p:cNvPr id="3" name="Subtitle 2"/>
          <p:cNvSpPr>
            <a:spLocks noGrp="1"/>
          </p:cNvSpPr>
          <p:nvPr>
            <p:ph type="subTitle" idx="1" hasCustomPrompt="1"/>
          </p:nvPr>
        </p:nvSpPr>
        <p:spPr bwMode="white">
          <a:xfrm>
            <a:off x="269876" y="1926431"/>
            <a:ext cx="4749799" cy="540000"/>
          </a:xfrm>
        </p:spPr>
        <p:txBody>
          <a:bodyPr/>
          <a:lstStyle>
            <a:lvl1pPr marL="0" indent="0" algn="l">
              <a:spcBef>
                <a:spcPts val="0"/>
              </a:spcBef>
              <a:buFont typeface="DFDS Sans" panose="00000500000000000000" pitchFamily="2" charset="0"/>
              <a:buChar char="​"/>
              <a:defRPr sz="1600">
                <a:solidFill>
                  <a:schemeClr val="bg1"/>
                </a:solidFill>
              </a:defRPr>
            </a:lvl1pPr>
            <a:lvl2pPr marL="0" indent="0" algn="l">
              <a:spcAft>
                <a:spcPts val="600"/>
              </a:spcAft>
              <a:buFont typeface="DFDS Sans" panose="00000500000000000000" pitchFamily="2" charset="0"/>
              <a:buChar char="​"/>
              <a:defRPr sz="1600" b="0">
                <a:solidFill>
                  <a:schemeClr val="bg1"/>
                </a:solidFill>
              </a:defRPr>
            </a:lvl2pPr>
            <a:lvl3pPr marL="0" indent="0" algn="l">
              <a:spcAft>
                <a:spcPts val="600"/>
              </a:spcAft>
              <a:buFont typeface="DFDS Sans" panose="00000500000000000000" pitchFamily="2" charset="0"/>
              <a:buChar char="​"/>
              <a:defRPr sz="1600" b="0">
                <a:solidFill>
                  <a:schemeClr val="bg1"/>
                </a:solidFill>
              </a:defRPr>
            </a:lvl3pPr>
            <a:lvl4pPr marL="0" indent="0" algn="l">
              <a:spcAft>
                <a:spcPts val="600"/>
              </a:spcAft>
              <a:buFont typeface="DFDS Sans" panose="00000500000000000000" pitchFamily="2" charset="0"/>
              <a:buChar char="​"/>
              <a:defRPr sz="1600" b="0">
                <a:solidFill>
                  <a:schemeClr val="bg1"/>
                </a:solidFill>
              </a:defRPr>
            </a:lvl4pPr>
            <a:lvl5pPr marL="0" indent="0" algn="l">
              <a:spcAft>
                <a:spcPts val="600"/>
              </a:spcAft>
              <a:buFont typeface="DFDS Sans" panose="00000500000000000000" pitchFamily="2" charset="0"/>
              <a:buChar char="​"/>
              <a:defRPr sz="1600" b="0">
                <a:solidFill>
                  <a:schemeClr val="bg1"/>
                </a:solidFill>
              </a:defRPr>
            </a:lvl5pPr>
            <a:lvl6pPr marL="0" indent="0" algn="l">
              <a:spcAft>
                <a:spcPts val="600"/>
              </a:spcAft>
              <a:buFont typeface="DFDS Sans" panose="00000500000000000000" pitchFamily="2" charset="0"/>
              <a:buChar char="​"/>
              <a:defRPr sz="1600" b="0">
                <a:solidFill>
                  <a:schemeClr val="bg1"/>
                </a:solidFill>
              </a:defRPr>
            </a:lvl6pPr>
            <a:lvl7pPr marL="0" indent="0" algn="l">
              <a:spcAft>
                <a:spcPts val="600"/>
              </a:spcAft>
              <a:buFont typeface="DFDS Sans" panose="00000500000000000000" pitchFamily="2" charset="0"/>
              <a:buChar char="​"/>
              <a:defRPr sz="1600" b="0">
                <a:solidFill>
                  <a:schemeClr val="bg1"/>
                </a:solidFill>
              </a:defRPr>
            </a:lvl7pPr>
            <a:lvl8pPr marL="0" indent="0" algn="l">
              <a:spcAft>
                <a:spcPts val="600"/>
              </a:spcAft>
              <a:buFont typeface="DFDS Sans" panose="00000500000000000000" pitchFamily="2" charset="0"/>
              <a:buChar char="​"/>
              <a:defRPr sz="1600" b="0">
                <a:solidFill>
                  <a:schemeClr val="bg1"/>
                </a:solidFill>
              </a:defRPr>
            </a:lvl8pPr>
            <a:lvl9pPr marL="0" indent="0" algn="l">
              <a:spcAft>
                <a:spcPts val="600"/>
              </a:spcAft>
              <a:buFont typeface="DFDS Sans" panose="00000500000000000000" pitchFamily="2" charset="0"/>
              <a:buChar char="​"/>
              <a:defRPr sz="1600" b="0">
                <a:solidFill>
                  <a:schemeClr val="bg1"/>
                </a:solidFill>
              </a:defRPr>
            </a:lvl9pPr>
          </a:lstStyle>
          <a:p>
            <a:r>
              <a:rPr lang="en-GB"/>
              <a:t>Click to add subtitle</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 level</a:t>
            </a:r>
          </a:p>
          <a:p>
            <a:pPr lvl="6"/>
            <a:r>
              <a:rPr lang="en-GB" noProof="0"/>
              <a:t>7 level</a:t>
            </a:r>
          </a:p>
          <a:p>
            <a:pPr lvl="7"/>
            <a:r>
              <a:rPr lang="en-GB" noProof="0"/>
              <a:t>8 level</a:t>
            </a:r>
          </a:p>
          <a:p>
            <a:pPr lvl="8"/>
            <a:r>
              <a:rPr lang="en-GB" noProof="0"/>
              <a:t>9 level</a:t>
            </a:r>
            <a:endParaRPr lang="en-GB"/>
          </a:p>
        </p:txBody>
      </p:sp>
      <p:sp>
        <p:nvSpPr>
          <p:cNvPr id="20" name="Text Placeholder 19">
            <a:extLst>
              <a:ext uri="{FF2B5EF4-FFF2-40B4-BE49-F238E27FC236}">
                <a16:creationId xmlns:a16="http://schemas.microsoft.com/office/drawing/2014/main" id="{19BAA93F-98DF-9286-B203-13311F284F00}"/>
              </a:ext>
            </a:extLst>
          </p:cNvPr>
          <p:cNvSpPr>
            <a:spLocks noGrp="1"/>
          </p:cNvSpPr>
          <p:nvPr>
            <p:ph type="body" sz="quarter" idx="19" hasCustomPrompt="1"/>
          </p:nvPr>
        </p:nvSpPr>
        <p:spPr>
          <a:xfrm>
            <a:off x="10929943" y="6253136"/>
            <a:ext cx="991080" cy="333436"/>
          </a:xfrm>
          <a:custGeom>
            <a:avLst/>
            <a:gdLst>
              <a:gd name="connsiteX0" fmla="*/ 777113 w 991080"/>
              <a:gd name="connsiteY0" fmla="*/ 120969 h 333436"/>
              <a:gd name="connsiteX1" fmla="*/ 777113 w 991080"/>
              <a:gd name="connsiteY1" fmla="*/ 212441 h 333436"/>
              <a:gd name="connsiteX2" fmla="*/ 814693 w 991080"/>
              <a:gd name="connsiteY2" fmla="*/ 212441 h 333436"/>
              <a:gd name="connsiteX3" fmla="*/ 829575 w 991080"/>
              <a:gd name="connsiteY3" fmla="*/ 197054 h 333436"/>
              <a:gd name="connsiteX4" fmla="*/ 829575 w 991080"/>
              <a:gd name="connsiteY4" fmla="*/ 136370 h 333436"/>
              <a:gd name="connsiteX5" fmla="*/ 814693 w 991080"/>
              <a:gd name="connsiteY5" fmla="*/ 120969 h 333436"/>
              <a:gd name="connsiteX6" fmla="*/ 511966 w 991080"/>
              <a:gd name="connsiteY6" fmla="*/ 120969 h 333436"/>
              <a:gd name="connsiteX7" fmla="*/ 511966 w 991080"/>
              <a:gd name="connsiteY7" fmla="*/ 212441 h 333436"/>
              <a:gd name="connsiteX8" fmla="*/ 549546 w 991080"/>
              <a:gd name="connsiteY8" fmla="*/ 212441 h 333436"/>
              <a:gd name="connsiteX9" fmla="*/ 564426 w 991080"/>
              <a:gd name="connsiteY9" fmla="*/ 197054 h 333436"/>
              <a:gd name="connsiteX10" fmla="*/ 564426 w 991080"/>
              <a:gd name="connsiteY10" fmla="*/ 136370 h 333436"/>
              <a:gd name="connsiteX11" fmla="*/ 549546 w 991080"/>
              <a:gd name="connsiteY11" fmla="*/ 120969 h 333436"/>
              <a:gd name="connsiteX12" fmla="*/ 191228 w 991080"/>
              <a:gd name="connsiteY12" fmla="*/ 89978 h 333436"/>
              <a:gd name="connsiteX13" fmla="*/ 190277 w 991080"/>
              <a:gd name="connsiteY13" fmla="*/ 90227 h 333436"/>
              <a:gd name="connsiteX14" fmla="*/ 189581 w 991080"/>
              <a:gd name="connsiteY14" fmla="*/ 90906 h 333436"/>
              <a:gd name="connsiteX15" fmla="*/ 189323 w 991080"/>
              <a:gd name="connsiteY15" fmla="*/ 91832 h 333436"/>
              <a:gd name="connsiteX16" fmla="*/ 189575 w 991080"/>
              <a:gd name="connsiteY16" fmla="*/ 92760 h 333436"/>
              <a:gd name="connsiteX17" fmla="*/ 225952 w 991080"/>
              <a:gd name="connsiteY17" fmla="*/ 154132 h 333436"/>
              <a:gd name="connsiteX18" fmla="*/ 162923 w 991080"/>
              <a:gd name="connsiteY18" fmla="*/ 118717 h 333436"/>
              <a:gd name="connsiteX19" fmla="*/ 161970 w 991080"/>
              <a:gd name="connsiteY19" fmla="*/ 118472 h 333436"/>
              <a:gd name="connsiteX20" fmla="*/ 161020 w 991080"/>
              <a:gd name="connsiteY20" fmla="*/ 118722 h 333436"/>
              <a:gd name="connsiteX21" fmla="*/ 160324 w 991080"/>
              <a:gd name="connsiteY21" fmla="*/ 119401 h 333436"/>
              <a:gd name="connsiteX22" fmla="*/ 160067 w 991080"/>
              <a:gd name="connsiteY22" fmla="*/ 120328 h 333436"/>
              <a:gd name="connsiteX23" fmla="*/ 160067 w 991080"/>
              <a:gd name="connsiteY23" fmla="*/ 213103 h 333436"/>
              <a:gd name="connsiteX24" fmla="*/ 160324 w 991080"/>
              <a:gd name="connsiteY24" fmla="*/ 214030 h 333436"/>
              <a:gd name="connsiteX25" fmla="*/ 161020 w 991080"/>
              <a:gd name="connsiteY25" fmla="*/ 214708 h 333436"/>
              <a:gd name="connsiteX26" fmla="*/ 161970 w 991080"/>
              <a:gd name="connsiteY26" fmla="*/ 214959 h 333436"/>
              <a:gd name="connsiteX27" fmla="*/ 162923 w 991080"/>
              <a:gd name="connsiteY27" fmla="*/ 214714 h 333436"/>
              <a:gd name="connsiteX28" fmla="*/ 225952 w 991080"/>
              <a:gd name="connsiteY28" fmla="*/ 179299 h 333436"/>
              <a:gd name="connsiteX29" fmla="*/ 189635 w 991080"/>
              <a:gd name="connsiteY29" fmla="*/ 240670 h 333436"/>
              <a:gd name="connsiteX30" fmla="*/ 189383 w 991080"/>
              <a:gd name="connsiteY30" fmla="*/ 241598 h 333436"/>
              <a:gd name="connsiteX31" fmla="*/ 189641 w 991080"/>
              <a:gd name="connsiteY31" fmla="*/ 242525 h 333436"/>
              <a:gd name="connsiteX32" fmla="*/ 190337 w 991080"/>
              <a:gd name="connsiteY32" fmla="*/ 243203 h 333436"/>
              <a:gd name="connsiteX33" fmla="*/ 191288 w 991080"/>
              <a:gd name="connsiteY33" fmla="*/ 243453 h 333436"/>
              <a:gd name="connsiteX34" fmla="*/ 286486 w 991080"/>
              <a:gd name="connsiteY34" fmla="*/ 243453 h 333436"/>
              <a:gd name="connsiteX35" fmla="*/ 287437 w 991080"/>
              <a:gd name="connsiteY35" fmla="*/ 243203 h 333436"/>
              <a:gd name="connsiteX36" fmla="*/ 288134 w 991080"/>
              <a:gd name="connsiteY36" fmla="*/ 242525 h 333436"/>
              <a:gd name="connsiteX37" fmla="*/ 288391 w 991080"/>
              <a:gd name="connsiteY37" fmla="*/ 241598 h 333436"/>
              <a:gd name="connsiteX38" fmla="*/ 288139 w 991080"/>
              <a:gd name="connsiteY38" fmla="*/ 240670 h 333436"/>
              <a:gd name="connsiteX39" fmla="*/ 251777 w 991080"/>
              <a:gd name="connsiteY39" fmla="*/ 179299 h 333436"/>
              <a:gd name="connsiteX40" fmla="*/ 314790 w 991080"/>
              <a:gd name="connsiteY40" fmla="*/ 214714 h 333436"/>
              <a:gd name="connsiteX41" fmla="*/ 315745 w 991080"/>
              <a:gd name="connsiteY41" fmla="*/ 214969 h 333436"/>
              <a:gd name="connsiteX42" fmla="*/ 316702 w 991080"/>
              <a:gd name="connsiteY42" fmla="*/ 214721 h 333436"/>
              <a:gd name="connsiteX43" fmla="*/ 317399 w 991080"/>
              <a:gd name="connsiteY43" fmla="*/ 214037 h 333436"/>
              <a:gd name="connsiteX44" fmla="*/ 317647 w 991080"/>
              <a:gd name="connsiteY44" fmla="*/ 213103 h 333436"/>
              <a:gd name="connsiteX45" fmla="*/ 317647 w 991080"/>
              <a:gd name="connsiteY45" fmla="*/ 120328 h 333436"/>
              <a:gd name="connsiteX46" fmla="*/ 317399 w 991080"/>
              <a:gd name="connsiteY46" fmla="*/ 119393 h 333436"/>
              <a:gd name="connsiteX47" fmla="*/ 316702 w 991080"/>
              <a:gd name="connsiteY47" fmla="*/ 118709 h 333436"/>
              <a:gd name="connsiteX48" fmla="*/ 315745 w 991080"/>
              <a:gd name="connsiteY48" fmla="*/ 118461 h 333436"/>
              <a:gd name="connsiteX49" fmla="*/ 314790 w 991080"/>
              <a:gd name="connsiteY49" fmla="*/ 118717 h 333436"/>
              <a:gd name="connsiteX50" fmla="*/ 251777 w 991080"/>
              <a:gd name="connsiteY50" fmla="*/ 154132 h 333436"/>
              <a:gd name="connsiteX51" fmla="*/ 288139 w 991080"/>
              <a:gd name="connsiteY51" fmla="*/ 92760 h 333436"/>
              <a:gd name="connsiteX52" fmla="*/ 288391 w 991080"/>
              <a:gd name="connsiteY52" fmla="*/ 91832 h 333436"/>
              <a:gd name="connsiteX53" fmla="*/ 288134 w 991080"/>
              <a:gd name="connsiteY53" fmla="*/ 90906 h 333436"/>
              <a:gd name="connsiteX54" fmla="*/ 287437 w 991080"/>
              <a:gd name="connsiteY54" fmla="*/ 90227 h 333436"/>
              <a:gd name="connsiteX55" fmla="*/ 286486 w 991080"/>
              <a:gd name="connsiteY55" fmla="*/ 89978 h 333436"/>
              <a:gd name="connsiteX56" fmla="*/ 746614 w 991080"/>
              <a:gd name="connsiteY56" fmla="*/ 89975 h 333436"/>
              <a:gd name="connsiteX57" fmla="*/ 819428 w 991080"/>
              <a:gd name="connsiteY57" fmla="*/ 89975 h 333436"/>
              <a:gd name="connsiteX58" fmla="*/ 863622 w 991080"/>
              <a:gd name="connsiteY58" fmla="*/ 130646 h 333436"/>
              <a:gd name="connsiteX59" fmla="*/ 863622 w 991080"/>
              <a:gd name="connsiteY59" fmla="*/ 202837 h 333436"/>
              <a:gd name="connsiteX60" fmla="*/ 819428 w 991080"/>
              <a:gd name="connsiteY60" fmla="*/ 243508 h 333436"/>
              <a:gd name="connsiteX61" fmla="*/ 746614 w 991080"/>
              <a:gd name="connsiteY61" fmla="*/ 243508 h 333436"/>
              <a:gd name="connsiteX62" fmla="*/ 743006 w 991080"/>
              <a:gd name="connsiteY62" fmla="*/ 239994 h 333436"/>
              <a:gd name="connsiteX63" fmla="*/ 743006 w 991080"/>
              <a:gd name="connsiteY63" fmla="*/ 93489 h 333436"/>
              <a:gd name="connsiteX64" fmla="*/ 746614 w 991080"/>
              <a:gd name="connsiteY64" fmla="*/ 89975 h 333436"/>
              <a:gd name="connsiteX65" fmla="*/ 624298 w 991080"/>
              <a:gd name="connsiteY65" fmla="*/ 89975 h 333436"/>
              <a:gd name="connsiteX66" fmla="*/ 721014 w 991080"/>
              <a:gd name="connsiteY66" fmla="*/ 89975 h 333436"/>
              <a:gd name="connsiteX67" fmla="*/ 724621 w 991080"/>
              <a:gd name="connsiteY67" fmla="*/ 93489 h 333436"/>
              <a:gd name="connsiteX68" fmla="*/ 724621 w 991080"/>
              <a:gd name="connsiteY68" fmla="*/ 117455 h 333436"/>
              <a:gd name="connsiteX69" fmla="*/ 721014 w 991080"/>
              <a:gd name="connsiteY69" fmla="*/ 120969 h 333436"/>
              <a:gd name="connsiteX70" fmla="*/ 654738 w 991080"/>
              <a:gd name="connsiteY70" fmla="*/ 120969 h 333436"/>
              <a:gd name="connsiteX71" fmla="*/ 654738 w 991080"/>
              <a:gd name="connsiteY71" fmla="*/ 154173 h 333436"/>
              <a:gd name="connsiteX72" fmla="*/ 712656 w 991080"/>
              <a:gd name="connsiteY72" fmla="*/ 154173 h 333436"/>
              <a:gd name="connsiteX73" fmla="*/ 716263 w 991080"/>
              <a:gd name="connsiteY73" fmla="*/ 157701 h 333436"/>
              <a:gd name="connsiteX74" fmla="*/ 716263 w 991080"/>
              <a:gd name="connsiteY74" fmla="*/ 181726 h 333436"/>
              <a:gd name="connsiteX75" fmla="*/ 712656 w 991080"/>
              <a:gd name="connsiteY75" fmla="*/ 185240 h 333436"/>
              <a:gd name="connsiteX76" fmla="*/ 654738 w 991080"/>
              <a:gd name="connsiteY76" fmla="*/ 185240 h 333436"/>
              <a:gd name="connsiteX77" fmla="*/ 654738 w 991080"/>
              <a:gd name="connsiteY77" fmla="*/ 239994 h 333436"/>
              <a:gd name="connsiteX78" fmla="*/ 651130 w 991080"/>
              <a:gd name="connsiteY78" fmla="*/ 243508 h 333436"/>
              <a:gd name="connsiteX79" fmla="*/ 624298 w 991080"/>
              <a:gd name="connsiteY79" fmla="*/ 243508 h 333436"/>
              <a:gd name="connsiteX80" fmla="*/ 620690 w 991080"/>
              <a:gd name="connsiteY80" fmla="*/ 239994 h 333436"/>
              <a:gd name="connsiteX81" fmla="*/ 620690 w 991080"/>
              <a:gd name="connsiteY81" fmla="*/ 93489 h 333436"/>
              <a:gd name="connsiteX82" fmla="*/ 624298 w 991080"/>
              <a:gd name="connsiteY82" fmla="*/ 89975 h 333436"/>
              <a:gd name="connsiteX83" fmla="*/ 481496 w 991080"/>
              <a:gd name="connsiteY83" fmla="*/ 89975 h 333436"/>
              <a:gd name="connsiteX84" fmla="*/ 554280 w 991080"/>
              <a:gd name="connsiteY84" fmla="*/ 89975 h 333436"/>
              <a:gd name="connsiteX85" fmla="*/ 598519 w 991080"/>
              <a:gd name="connsiteY85" fmla="*/ 130646 h 333436"/>
              <a:gd name="connsiteX86" fmla="*/ 598519 w 991080"/>
              <a:gd name="connsiteY86" fmla="*/ 202837 h 333436"/>
              <a:gd name="connsiteX87" fmla="*/ 554325 w 991080"/>
              <a:gd name="connsiteY87" fmla="*/ 243508 h 333436"/>
              <a:gd name="connsiteX88" fmla="*/ 481496 w 991080"/>
              <a:gd name="connsiteY88" fmla="*/ 243508 h 333436"/>
              <a:gd name="connsiteX89" fmla="*/ 477888 w 991080"/>
              <a:gd name="connsiteY89" fmla="*/ 239994 h 333436"/>
              <a:gd name="connsiteX90" fmla="*/ 477888 w 991080"/>
              <a:gd name="connsiteY90" fmla="*/ 93489 h 333436"/>
              <a:gd name="connsiteX91" fmla="*/ 481496 w 991080"/>
              <a:gd name="connsiteY91" fmla="*/ 89975 h 333436"/>
              <a:gd name="connsiteX92" fmla="*/ 925345 w 991080"/>
              <a:gd name="connsiteY92" fmla="*/ 88877 h 333436"/>
              <a:gd name="connsiteX93" fmla="*/ 978107 w 991080"/>
              <a:gd name="connsiteY93" fmla="*/ 89536 h 333436"/>
              <a:gd name="connsiteX94" fmla="*/ 981717 w 991080"/>
              <a:gd name="connsiteY94" fmla="*/ 93050 h 333436"/>
              <a:gd name="connsiteX95" fmla="*/ 981717 w 991080"/>
              <a:gd name="connsiteY95" fmla="*/ 117016 h 333436"/>
              <a:gd name="connsiteX96" fmla="*/ 978107 w 991080"/>
              <a:gd name="connsiteY96" fmla="*/ 120529 h 333436"/>
              <a:gd name="connsiteX97" fmla="*/ 930005 w 991080"/>
              <a:gd name="connsiteY97" fmla="*/ 119870 h 333436"/>
              <a:gd name="connsiteX98" fmla="*/ 915123 w 991080"/>
              <a:gd name="connsiteY98" fmla="*/ 130866 h 333436"/>
              <a:gd name="connsiteX99" fmla="*/ 915123 w 991080"/>
              <a:gd name="connsiteY99" fmla="*/ 133955 h 333436"/>
              <a:gd name="connsiteX100" fmla="*/ 925044 w 991080"/>
              <a:gd name="connsiteY100" fmla="*/ 146048 h 333436"/>
              <a:gd name="connsiteX101" fmla="*/ 959990 w 991080"/>
              <a:gd name="connsiteY101" fmla="*/ 157263 h 333436"/>
              <a:gd name="connsiteX102" fmla="*/ 991080 w 991080"/>
              <a:gd name="connsiteY102" fmla="*/ 194229 h 333436"/>
              <a:gd name="connsiteX103" fmla="*/ 991080 w 991080"/>
              <a:gd name="connsiteY103" fmla="*/ 206322 h 333436"/>
              <a:gd name="connsiteX104" fmla="*/ 946990 w 991080"/>
              <a:gd name="connsiteY104" fmla="*/ 244635 h 333436"/>
              <a:gd name="connsiteX105" fmla="*/ 885991 w 991080"/>
              <a:gd name="connsiteY105" fmla="*/ 243977 h 333436"/>
              <a:gd name="connsiteX106" fmla="*/ 882383 w 991080"/>
              <a:gd name="connsiteY106" fmla="*/ 240463 h 333436"/>
              <a:gd name="connsiteX107" fmla="*/ 882383 w 991080"/>
              <a:gd name="connsiteY107" fmla="*/ 216497 h 333436"/>
              <a:gd name="connsiteX108" fmla="*/ 885991 w 991080"/>
              <a:gd name="connsiteY108" fmla="*/ 212969 h 333436"/>
              <a:gd name="connsiteX109" fmla="*/ 942256 w 991080"/>
              <a:gd name="connsiteY109" fmla="*/ 213642 h 333436"/>
              <a:gd name="connsiteX110" fmla="*/ 956914 w 991080"/>
              <a:gd name="connsiteY110" fmla="*/ 201930 h 333436"/>
              <a:gd name="connsiteX111" fmla="*/ 956914 w 991080"/>
              <a:gd name="connsiteY111" fmla="*/ 198372 h 333436"/>
              <a:gd name="connsiteX112" fmla="*/ 946990 w 991080"/>
              <a:gd name="connsiteY112" fmla="*/ 185620 h 333436"/>
              <a:gd name="connsiteX113" fmla="*/ 912267 w 991080"/>
              <a:gd name="connsiteY113" fmla="*/ 174626 h 333436"/>
              <a:gd name="connsiteX114" fmla="*/ 881166 w 991080"/>
              <a:gd name="connsiteY114" fmla="*/ 137908 h 333436"/>
              <a:gd name="connsiteX115" fmla="*/ 881166 w 991080"/>
              <a:gd name="connsiteY115" fmla="*/ 126034 h 333436"/>
              <a:gd name="connsiteX116" fmla="*/ 925345 w 991080"/>
              <a:gd name="connsiteY116" fmla="*/ 88877 h 333436"/>
              <a:gd name="connsiteX117" fmla="*/ 199827 w 991080"/>
              <a:gd name="connsiteY117" fmla="*/ 28 h 333436"/>
              <a:gd name="connsiteX118" fmla="*/ 475181 w 991080"/>
              <a:gd name="connsiteY118" fmla="*/ 28 h 333436"/>
              <a:gd name="connsiteX119" fmla="*/ 476520 w 991080"/>
              <a:gd name="connsiteY119" fmla="*/ 207 h 333436"/>
              <a:gd name="connsiteX120" fmla="*/ 477528 w 991080"/>
              <a:gd name="connsiteY120" fmla="*/ 1084 h 333436"/>
              <a:gd name="connsiteX121" fmla="*/ 477861 w 991080"/>
              <a:gd name="connsiteY121" fmla="*/ 2360 h 333436"/>
              <a:gd name="connsiteX122" fmla="*/ 477406 w 991080"/>
              <a:gd name="connsiteY122" fmla="*/ 3600 h 333436"/>
              <a:gd name="connsiteX123" fmla="*/ 283885 w 991080"/>
              <a:gd name="connsiteY123" fmla="*/ 330080 h 333436"/>
              <a:gd name="connsiteX124" fmla="*/ 281459 w 991080"/>
              <a:gd name="connsiteY124" fmla="*/ 332601 h 333436"/>
              <a:gd name="connsiteX125" fmla="*/ 278008 w 991080"/>
              <a:gd name="connsiteY125" fmla="*/ 333403 h 333436"/>
              <a:gd name="connsiteX126" fmla="*/ 2713 w 991080"/>
              <a:gd name="connsiteY126" fmla="*/ 333403 h 333436"/>
              <a:gd name="connsiteX127" fmla="*/ 1359 w 991080"/>
              <a:gd name="connsiteY127" fmla="*/ 333235 h 333436"/>
              <a:gd name="connsiteX128" fmla="*/ 337 w 991080"/>
              <a:gd name="connsiteY128" fmla="*/ 332353 h 333436"/>
              <a:gd name="connsiteX129" fmla="*/ 3 w 991080"/>
              <a:gd name="connsiteY129" fmla="*/ 331064 h 333436"/>
              <a:gd name="connsiteX130" fmla="*/ 473 w 991080"/>
              <a:gd name="connsiteY130" fmla="*/ 329816 h 333436"/>
              <a:gd name="connsiteX131" fmla="*/ 193949 w 991080"/>
              <a:gd name="connsiteY131" fmla="*/ 3351 h 333436"/>
              <a:gd name="connsiteX132" fmla="*/ 196375 w 991080"/>
              <a:gd name="connsiteY132" fmla="*/ 829 h 333436"/>
              <a:gd name="connsiteX133" fmla="*/ 199827 w 991080"/>
              <a:gd name="connsiteY133" fmla="*/ 28 h 333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Lst>
            <a:rect l="l" t="t" r="r" b="b"/>
            <a:pathLst>
              <a:path w="991080" h="333436">
                <a:moveTo>
                  <a:pt x="777113" y="120969"/>
                </a:moveTo>
                <a:lnTo>
                  <a:pt x="777113" y="212441"/>
                </a:lnTo>
                <a:lnTo>
                  <a:pt x="814693" y="212441"/>
                </a:lnTo>
                <a:cubicBezTo>
                  <a:pt x="825291" y="212441"/>
                  <a:pt x="829575" y="208049"/>
                  <a:pt x="829575" y="197054"/>
                </a:cubicBezTo>
                <a:lnTo>
                  <a:pt x="829575" y="136370"/>
                </a:lnTo>
                <a:cubicBezTo>
                  <a:pt x="829575" y="125361"/>
                  <a:pt x="825291" y="120969"/>
                  <a:pt x="814693" y="120969"/>
                </a:cubicBezTo>
                <a:close/>
                <a:moveTo>
                  <a:pt x="511966" y="120969"/>
                </a:moveTo>
                <a:lnTo>
                  <a:pt x="511966" y="212441"/>
                </a:lnTo>
                <a:lnTo>
                  <a:pt x="549546" y="212441"/>
                </a:lnTo>
                <a:cubicBezTo>
                  <a:pt x="560143" y="212441"/>
                  <a:pt x="564426" y="208049"/>
                  <a:pt x="564426" y="197054"/>
                </a:cubicBezTo>
                <a:lnTo>
                  <a:pt x="564426" y="136370"/>
                </a:lnTo>
                <a:cubicBezTo>
                  <a:pt x="564426" y="125361"/>
                  <a:pt x="560143" y="120969"/>
                  <a:pt x="549546" y="120969"/>
                </a:cubicBezTo>
                <a:close/>
                <a:moveTo>
                  <a:pt x="191228" y="89978"/>
                </a:moveTo>
                <a:cubicBezTo>
                  <a:pt x="190894" y="89979"/>
                  <a:pt x="190566" y="90065"/>
                  <a:pt x="190277" y="90227"/>
                </a:cubicBezTo>
                <a:cubicBezTo>
                  <a:pt x="189988" y="90390"/>
                  <a:pt x="189747" y="90624"/>
                  <a:pt x="189581" y="90906"/>
                </a:cubicBezTo>
                <a:cubicBezTo>
                  <a:pt x="189413" y="91187"/>
                  <a:pt x="189324" y="91507"/>
                  <a:pt x="189323" y="91832"/>
                </a:cubicBezTo>
                <a:cubicBezTo>
                  <a:pt x="189322" y="92157"/>
                  <a:pt x="189409" y="92477"/>
                  <a:pt x="189575" y="92760"/>
                </a:cubicBezTo>
                <a:lnTo>
                  <a:pt x="225952" y="154132"/>
                </a:lnTo>
                <a:lnTo>
                  <a:pt x="162923" y="118717"/>
                </a:lnTo>
                <a:cubicBezTo>
                  <a:pt x="162633" y="118555"/>
                  <a:pt x="162305" y="118471"/>
                  <a:pt x="161970" y="118472"/>
                </a:cubicBezTo>
                <a:cubicBezTo>
                  <a:pt x="161637" y="118473"/>
                  <a:pt x="161308" y="118559"/>
                  <a:pt x="161020" y="118722"/>
                </a:cubicBezTo>
                <a:cubicBezTo>
                  <a:pt x="160730" y="118886"/>
                  <a:pt x="160490" y="119119"/>
                  <a:pt x="160324" y="119401"/>
                </a:cubicBezTo>
                <a:cubicBezTo>
                  <a:pt x="160156" y="119683"/>
                  <a:pt x="160067" y="120002"/>
                  <a:pt x="160067" y="120328"/>
                </a:cubicBezTo>
                <a:lnTo>
                  <a:pt x="160067" y="213103"/>
                </a:lnTo>
                <a:cubicBezTo>
                  <a:pt x="160067" y="213429"/>
                  <a:pt x="160156" y="213748"/>
                  <a:pt x="160324" y="214030"/>
                </a:cubicBezTo>
                <a:cubicBezTo>
                  <a:pt x="160490" y="214311"/>
                  <a:pt x="160730" y="214545"/>
                  <a:pt x="161020" y="214708"/>
                </a:cubicBezTo>
                <a:cubicBezTo>
                  <a:pt x="161308" y="214871"/>
                  <a:pt x="161637" y="214958"/>
                  <a:pt x="161970" y="214959"/>
                </a:cubicBezTo>
                <a:cubicBezTo>
                  <a:pt x="162305" y="214959"/>
                  <a:pt x="162633" y="214875"/>
                  <a:pt x="162923" y="214714"/>
                </a:cubicBezTo>
                <a:lnTo>
                  <a:pt x="225952" y="179299"/>
                </a:lnTo>
                <a:lnTo>
                  <a:pt x="189635" y="240670"/>
                </a:lnTo>
                <a:cubicBezTo>
                  <a:pt x="189469" y="240953"/>
                  <a:pt x="189382" y="241273"/>
                  <a:pt x="189383" y="241598"/>
                </a:cubicBezTo>
                <a:cubicBezTo>
                  <a:pt x="189384" y="241924"/>
                  <a:pt x="189473" y="242243"/>
                  <a:pt x="189641" y="242525"/>
                </a:cubicBezTo>
                <a:cubicBezTo>
                  <a:pt x="189807" y="242806"/>
                  <a:pt x="190048" y="243040"/>
                  <a:pt x="190337" y="243203"/>
                </a:cubicBezTo>
                <a:cubicBezTo>
                  <a:pt x="190626" y="243366"/>
                  <a:pt x="190954" y="243452"/>
                  <a:pt x="191288" y="243453"/>
                </a:cubicBezTo>
                <a:lnTo>
                  <a:pt x="286486" y="243453"/>
                </a:lnTo>
                <a:cubicBezTo>
                  <a:pt x="286819" y="243452"/>
                  <a:pt x="287148" y="243366"/>
                  <a:pt x="287437" y="243203"/>
                </a:cubicBezTo>
                <a:cubicBezTo>
                  <a:pt x="287726" y="243040"/>
                  <a:pt x="287966" y="242806"/>
                  <a:pt x="288134" y="242525"/>
                </a:cubicBezTo>
                <a:cubicBezTo>
                  <a:pt x="288301" y="242243"/>
                  <a:pt x="288390" y="241924"/>
                  <a:pt x="288391" y="241598"/>
                </a:cubicBezTo>
                <a:cubicBezTo>
                  <a:pt x="288392" y="241273"/>
                  <a:pt x="288304" y="240953"/>
                  <a:pt x="288139" y="240670"/>
                </a:cubicBezTo>
                <a:lnTo>
                  <a:pt x="251777" y="179299"/>
                </a:lnTo>
                <a:lnTo>
                  <a:pt x="314790" y="214714"/>
                </a:lnTo>
                <a:cubicBezTo>
                  <a:pt x="315080" y="214879"/>
                  <a:pt x="315410" y="214968"/>
                  <a:pt x="315745" y="214969"/>
                </a:cubicBezTo>
                <a:cubicBezTo>
                  <a:pt x="316081" y="214971"/>
                  <a:pt x="316412" y="214885"/>
                  <a:pt x="316702" y="214721"/>
                </a:cubicBezTo>
                <a:cubicBezTo>
                  <a:pt x="316993" y="214558"/>
                  <a:pt x="317233" y="214321"/>
                  <a:pt x="317399" y="214037"/>
                </a:cubicBezTo>
                <a:cubicBezTo>
                  <a:pt x="317565" y="213753"/>
                  <a:pt x="317651" y="213430"/>
                  <a:pt x="317647" y="213103"/>
                </a:cubicBezTo>
                <a:lnTo>
                  <a:pt x="317647" y="120328"/>
                </a:lnTo>
                <a:cubicBezTo>
                  <a:pt x="317651" y="120000"/>
                  <a:pt x="317565" y="119678"/>
                  <a:pt x="317399" y="119393"/>
                </a:cubicBezTo>
                <a:cubicBezTo>
                  <a:pt x="317233" y="119109"/>
                  <a:pt x="316993" y="118873"/>
                  <a:pt x="316702" y="118709"/>
                </a:cubicBezTo>
                <a:cubicBezTo>
                  <a:pt x="316412" y="118546"/>
                  <a:pt x="316081" y="118460"/>
                  <a:pt x="315745" y="118461"/>
                </a:cubicBezTo>
                <a:cubicBezTo>
                  <a:pt x="315410" y="118463"/>
                  <a:pt x="315080" y="118550"/>
                  <a:pt x="314790" y="118717"/>
                </a:cubicBezTo>
                <a:lnTo>
                  <a:pt x="251777" y="154132"/>
                </a:lnTo>
                <a:lnTo>
                  <a:pt x="288139" y="92760"/>
                </a:lnTo>
                <a:cubicBezTo>
                  <a:pt x="288304" y="92477"/>
                  <a:pt x="288392" y="92157"/>
                  <a:pt x="288391" y="91832"/>
                </a:cubicBezTo>
                <a:cubicBezTo>
                  <a:pt x="288390" y="91507"/>
                  <a:pt x="288301" y="91187"/>
                  <a:pt x="288134" y="90906"/>
                </a:cubicBezTo>
                <a:cubicBezTo>
                  <a:pt x="287966" y="90624"/>
                  <a:pt x="287726" y="90390"/>
                  <a:pt x="287437" y="90227"/>
                </a:cubicBezTo>
                <a:cubicBezTo>
                  <a:pt x="287148" y="90065"/>
                  <a:pt x="286819" y="89979"/>
                  <a:pt x="286486" y="89978"/>
                </a:cubicBezTo>
                <a:close/>
                <a:moveTo>
                  <a:pt x="746614" y="89975"/>
                </a:moveTo>
                <a:lnTo>
                  <a:pt x="819428" y="89975"/>
                </a:lnTo>
                <a:cubicBezTo>
                  <a:pt x="847388" y="89975"/>
                  <a:pt x="863622" y="105142"/>
                  <a:pt x="863622" y="130646"/>
                </a:cubicBezTo>
                <a:lnTo>
                  <a:pt x="863622" y="202837"/>
                </a:lnTo>
                <a:cubicBezTo>
                  <a:pt x="863622" y="228341"/>
                  <a:pt x="847388" y="243508"/>
                  <a:pt x="819428" y="243508"/>
                </a:cubicBezTo>
                <a:lnTo>
                  <a:pt x="746614" y="243508"/>
                </a:lnTo>
                <a:cubicBezTo>
                  <a:pt x="743908" y="243508"/>
                  <a:pt x="743006" y="242630"/>
                  <a:pt x="743006" y="239994"/>
                </a:cubicBezTo>
                <a:lnTo>
                  <a:pt x="743006" y="93489"/>
                </a:lnTo>
                <a:cubicBezTo>
                  <a:pt x="743006" y="90853"/>
                  <a:pt x="743908" y="89975"/>
                  <a:pt x="746614" y="89975"/>
                </a:cubicBezTo>
                <a:close/>
                <a:moveTo>
                  <a:pt x="624298" y="89975"/>
                </a:moveTo>
                <a:lnTo>
                  <a:pt x="721014" y="89975"/>
                </a:lnTo>
                <a:cubicBezTo>
                  <a:pt x="723719" y="89975"/>
                  <a:pt x="724621" y="90853"/>
                  <a:pt x="724621" y="93489"/>
                </a:cubicBezTo>
                <a:lnTo>
                  <a:pt x="724621" y="117455"/>
                </a:lnTo>
                <a:cubicBezTo>
                  <a:pt x="724621" y="120091"/>
                  <a:pt x="723719" y="120969"/>
                  <a:pt x="721014" y="120969"/>
                </a:cubicBezTo>
                <a:lnTo>
                  <a:pt x="654738" y="120969"/>
                </a:lnTo>
                <a:lnTo>
                  <a:pt x="654738" y="154173"/>
                </a:lnTo>
                <a:lnTo>
                  <a:pt x="712656" y="154173"/>
                </a:lnTo>
                <a:cubicBezTo>
                  <a:pt x="715362" y="154173"/>
                  <a:pt x="716263" y="155051"/>
                  <a:pt x="716263" y="157701"/>
                </a:cubicBezTo>
                <a:lnTo>
                  <a:pt x="716263" y="181726"/>
                </a:lnTo>
                <a:cubicBezTo>
                  <a:pt x="716263" y="184361"/>
                  <a:pt x="715362" y="185240"/>
                  <a:pt x="712656" y="185240"/>
                </a:cubicBezTo>
                <a:lnTo>
                  <a:pt x="654738" y="185240"/>
                </a:lnTo>
                <a:lnTo>
                  <a:pt x="654738" y="239994"/>
                </a:lnTo>
                <a:cubicBezTo>
                  <a:pt x="654738" y="242630"/>
                  <a:pt x="653836" y="243508"/>
                  <a:pt x="651130" y="243508"/>
                </a:cubicBezTo>
                <a:lnTo>
                  <a:pt x="624298" y="243508"/>
                </a:lnTo>
                <a:cubicBezTo>
                  <a:pt x="621592" y="243508"/>
                  <a:pt x="620690" y="242630"/>
                  <a:pt x="620690" y="239994"/>
                </a:cubicBezTo>
                <a:lnTo>
                  <a:pt x="620690" y="93489"/>
                </a:lnTo>
                <a:cubicBezTo>
                  <a:pt x="620690" y="90853"/>
                  <a:pt x="621592" y="89975"/>
                  <a:pt x="624298" y="89975"/>
                </a:cubicBezTo>
                <a:close/>
                <a:moveTo>
                  <a:pt x="481496" y="89975"/>
                </a:moveTo>
                <a:lnTo>
                  <a:pt x="554280" y="89975"/>
                </a:lnTo>
                <a:cubicBezTo>
                  <a:pt x="582210" y="89975"/>
                  <a:pt x="598475" y="105142"/>
                  <a:pt x="598519" y="130646"/>
                </a:cubicBezTo>
                <a:lnTo>
                  <a:pt x="598519" y="202837"/>
                </a:lnTo>
                <a:cubicBezTo>
                  <a:pt x="598519" y="228341"/>
                  <a:pt x="582285" y="243508"/>
                  <a:pt x="554325" y="243508"/>
                </a:cubicBezTo>
                <a:lnTo>
                  <a:pt x="481496" y="243508"/>
                </a:lnTo>
                <a:cubicBezTo>
                  <a:pt x="478790" y="243508"/>
                  <a:pt x="477888" y="242630"/>
                  <a:pt x="477888" y="239994"/>
                </a:cubicBezTo>
                <a:lnTo>
                  <a:pt x="477888" y="93489"/>
                </a:lnTo>
                <a:cubicBezTo>
                  <a:pt x="477888" y="90853"/>
                  <a:pt x="478790" y="89975"/>
                  <a:pt x="481496" y="89975"/>
                </a:cubicBezTo>
                <a:close/>
                <a:moveTo>
                  <a:pt x="925345" y="88877"/>
                </a:moveTo>
                <a:cubicBezTo>
                  <a:pt x="949922" y="88877"/>
                  <a:pt x="978107" y="89536"/>
                  <a:pt x="978107" y="89536"/>
                </a:cubicBezTo>
                <a:cubicBezTo>
                  <a:pt x="980812" y="89536"/>
                  <a:pt x="981717" y="90414"/>
                  <a:pt x="981717" y="93050"/>
                </a:cubicBezTo>
                <a:lnTo>
                  <a:pt x="981717" y="117016"/>
                </a:lnTo>
                <a:cubicBezTo>
                  <a:pt x="981717" y="119651"/>
                  <a:pt x="980812" y="120529"/>
                  <a:pt x="978107" y="120529"/>
                </a:cubicBezTo>
                <a:cubicBezTo>
                  <a:pt x="978107" y="120529"/>
                  <a:pt x="952327" y="119870"/>
                  <a:pt x="930005" y="119870"/>
                </a:cubicBezTo>
                <a:cubicBezTo>
                  <a:pt x="919407" y="119870"/>
                  <a:pt x="915123" y="119870"/>
                  <a:pt x="915123" y="130866"/>
                </a:cubicBezTo>
                <a:lnTo>
                  <a:pt x="915123" y="133955"/>
                </a:lnTo>
                <a:cubicBezTo>
                  <a:pt x="915123" y="142080"/>
                  <a:pt x="917152" y="143617"/>
                  <a:pt x="925044" y="146048"/>
                </a:cubicBezTo>
                <a:lnTo>
                  <a:pt x="959990" y="157263"/>
                </a:lnTo>
                <a:cubicBezTo>
                  <a:pt x="974878" y="161874"/>
                  <a:pt x="991080" y="166486"/>
                  <a:pt x="991080" y="194229"/>
                </a:cubicBezTo>
                <a:lnTo>
                  <a:pt x="991080" y="206322"/>
                </a:lnTo>
                <a:cubicBezTo>
                  <a:pt x="991080" y="231796"/>
                  <a:pt x="975173" y="244635"/>
                  <a:pt x="946990" y="244635"/>
                </a:cubicBezTo>
                <a:cubicBezTo>
                  <a:pt x="918806" y="244635"/>
                  <a:pt x="885991" y="243977"/>
                  <a:pt x="885991" y="243977"/>
                </a:cubicBezTo>
                <a:cubicBezTo>
                  <a:pt x="883285" y="243977"/>
                  <a:pt x="882383" y="243098"/>
                  <a:pt x="882383" y="240463"/>
                </a:cubicBezTo>
                <a:lnTo>
                  <a:pt x="882383" y="216497"/>
                </a:lnTo>
                <a:cubicBezTo>
                  <a:pt x="882383" y="213862"/>
                  <a:pt x="883285" y="212969"/>
                  <a:pt x="885991" y="212969"/>
                </a:cubicBezTo>
                <a:cubicBezTo>
                  <a:pt x="885991" y="212969"/>
                  <a:pt x="918205" y="213642"/>
                  <a:pt x="942256" y="213642"/>
                </a:cubicBezTo>
                <a:cubicBezTo>
                  <a:pt x="952856" y="213642"/>
                  <a:pt x="956914" y="212910"/>
                  <a:pt x="956914" y="201930"/>
                </a:cubicBezTo>
                <a:lnTo>
                  <a:pt x="956914" y="198372"/>
                </a:lnTo>
                <a:cubicBezTo>
                  <a:pt x="956914" y="190247"/>
                  <a:pt x="954885" y="188036"/>
                  <a:pt x="946990" y="185620"/>
                </a:cubicBezTo>
                <a:lnTo>
                  <a:pt x="912267" y="174626"/>
                </a:lnTo>
                <a:cubicBezTo>
                  <a:pt x="897159" y="170014"/>
                  <a:pt x="881166" y="165387"/>
                  <a:pt x="881166" y="137908"/>
                </a:cubicBezTo>
                <a:lnTo>
                  <a:pt x="881166" y="126034"/>
                </a:lnTo>
                <a:cubicBezTo>
                  <a:pt x="881166" y="100590"/>
                  <a:pt x="897385" y="88877"/>
                  <a:pt x="925345" y="88877"/>
                </a:cubicBezTo>
                <a:close/>
                <a:moveTo>
                  <a:pt x="199827" y="28"/>
                </a:moveTo>
                <a:lnTo>
                  <a:pt x="475181" y="28"/>
                </a:lnTo>
                <a:cubicBezTo>
                  <a:pt x="475636" y="-44"/>
                  <a:pt x="476102" y="19"/>
                  <a:pt x="476520" y="207"/>
                </a:cubicBezTo>
                <a:cubicBezTo>
                  <a:pt x="476938" y="395"/>
                  <a:pt x="477290" y="701"/>
                  <a:pt x="477528" y="1084"/>
                </a:cubicBezTo>
                <a:cubicBezTo>
                  <a:pt x="477767" y="1468"/>
                  <a:pt x="477883" y="1912"/>
                  <a:pt x="477861" y="2360"/>
                </a:cubicBezTo>
                <a:cubicBezTo>
                  <a:pt x="477839" y="2808"/>
                  <a:pt x="477681" y="3240"/>
                  <a:pt x="477406" y="3600"/>
                </a:cubicBezTo>
                <a:lnTo>
                  <a:pt x="283885" y="330080"/>
                </a:lnTo>
                <a:cubicBezTo>
                  <a:pt x="283348" y="331133"/>
                  <a:pt x="282505" y="332010"/>
                  <a:pt x="281459" y="332601"/>
                </a:cubicBezTo>
                <a:cubicBezTo>
                  <a:pt x="280414" y="333192"/>
                  <a:pt x="279214" y="333470"/>
                  <a:pt x="278008" y="333403"/>
                </a:cubicBezTo>
                <a:lnTo>
                  <a:pt x="2713" y="333403"/>
                </a:lnTo>
                <a:cubicBezTo>
                  <a:pt x="2254" y="333481"/>
                  <a:pt x="1783" y="333422"/>
                  <a:pt x="1359" y="333235"/>
                </a:cubicBezTo>
                <a:cubicBezTo>
                  <a:pt x="935" y="333048"/>
                  <a:pt x="579" y="332740"/>
                  <a:pt x="337" y="332353"/>
                </a:cubicBezTo>
                <a:cubicBezTo>
                  <a:pt x="95" y="331966"/>
                  <a:pt x="-21" y="331517"/>
                  <a:pt x="3" y="331064"/>
                </a:cubicBezTo>
                <a:cubicBezTo>
                  <a:pt x="27" y="330611"/>
                  <a:pt x="191" y="330177"/>
                  <a:pt x="473" y="329816"/>
                </a:cubicBezTo>
                <a:lnTo>
                  <a:pt x="193949" y="3351"/>
                </a:lnTo>
                <a:cubicBezTo>
                  <a:pt x="194486" y="2297"/>
                  <a:pt x="195330" y="1420"/>
                  <a:pt x="196375" y="829"/>
                </a:cubicBezTo>
                <a:cubicBezTo>
                  <a:pt x="197420" y="238"/>
                  <a:pt x="198620" y="-41"/>
                  <a:pt x="199827" y="28"/>
                </a:cubicBezTo>
                <a:close/>
              </a:path>
            </a:pathLst>
          </a:custGeom>
          <a:solidFill>
            <a:schemeClr val="bg1"/>
          </a:solidFill>
        </p:spPr>
        <p:txBody>
          <a:bodyPr wrap="square">
            <a:noAutofit/>
          </a:bodyPr>
          <a:lstStyle>
            <a:lvl1pPr marL="126000" indent="0">
              <a:buFontTx/>
              <a:buNone/>
              <a:defRPr sz="800">
                <a:noFill/>
              </a:defRPr>
            </a:lvl1pPr>
          </a:lstStyle>
          <a:p>
            <a:pPr lvl="0"/>
            <a:r>
              <a:rPr lang="en-GB"/>
              <a:t>Set text to 'No Fill'</a:t>
            </a:r>
          </a:p>
        </p:txBody>
      </p:sp>
    </p:spTree>
    <p:extLst>
      <p:ext uri="{BB962C8B-B14F-4D97-AF65-F5344CB8AC3E}">
        <p14:creationId xmlns:p14="http://schemas.microsoft.com/office/powerpoint/2010/main" val="12809811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genda A">
    <p:bg>
      <p:bgRef idx="1001">
        <a:schemeClr val="bg1"/>
      </p:bgRef>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0BB1920A-562A-878B-5D6C-A4A1B8FF132D}"/>
              </a:ext>
            </a:extLst>
          </p:cNvPr>
          <p:cNvSpPr/>
          <p:nvPr userDrawn="1"/>
        </p:nvSpPr>
        <p:spPr>
          <a:xfrm>
            <a:off x="0" y="0"/>
            <a:ext cx="121932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0" name="Date Placeholder 6" hidden="1">
            <a:extLst>
              <a:ext uri="{FF2B5EF4-FFF2-40B4-BE49-F238E27FC236}">
                <a16:creationId xmlns:a16="http://schemas.microsoft.com/office/drawing/2014/main" id="{A0208642-FAE2-4418-9014-1CE767DCC7FD}"/>
              </a:ext>
            </a:extLst>
          </p:cNvPr>
          <p:cNvSpPr>
            <a:spLocks noGrp="1"/>
          </p:cNvSpPr>
          <p:nvPr>
            <p:ph type="dt" sz="half" idx="15"/>
          </p:nvPr>
        </p:nvSpPr>
        <p:spPr>
          <a:xfrm>
            <a:off x="0" y="6858000"/>
            <a:ext cx="0" cy="0"/>
          </a:xfrm>
          <a:prstGeom prst="rect">
            <a:avLst/>
          </a:prstGeom>
        </p:spPr>
        <p:txBody>
          <a:bodyPr/>
          <a:lstStyle>
            <a:lvl1pPr>
              <a:defRPr sz="100">
                <a:noFill/>
              </a:defRPr>
            </a:lvl1pPr>
          </a:lstStyle>
          <a:p>
            <a:fld id="{1DE18E95-A330-4113-921A-76EEA098125E}" type="datetime4">
              <a:rPr lang="en-GB" smtClean="0"/>
              <a:t>20 February 2025</a:t>
            </a:fld>
            <a:endParaRPr lang="en-GB"/>
          </a:p>
        </p:txBody>
      </p:sp>
      <p:sp>
        <p:nvSpPr>
          <p:cNvPr id="11" name="Footer Placeholder 8" hidden="1">
            <a:extLst>
              <a:ext uri="{FF2B5EF4-FFF2-40B4-BE49-F238E27FC236}">
                <a16:creationId xmlns:a16="http://schemas.microsoft.com/office/drawing/2014/main" id="{E7F83165-73E5-45CF-B88B-91410D08B505}"/>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F03054CD-9DA2-4418-92CC-F992664950B9}"/>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pic>
        <p:nvPicPr>
          <p:cNvPr id="8" name="Logo">
            <a:extLst>
              <a:ext uri="{FF2B5EF4-FFF2-40B4-BE49-F238E27FC236}">
                <a16:creationId xmlns:a16="http://schemas.microsoft.com/office/drawing/2014/main" id="{15D0DB54-4D1D-906B-87FD-E5A2955C7F2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929938" y="6253163"/>
            <a:ext cx="1000125" cy="333375"/>
          </a:xfrm>
          <a:prstGeom prst="rect">
            <a:avLst/>
          </a:prstGeom>
        </p:spPr>
      </p:pic>
      <p:sp>
        <p:nvSpPr>
          <p:cNvPr id="3" name="Title 2">
            <a:extLst>
              <a:ext uri="{FF2B5EF4-FFF2-40B4-BE49-F238E27FC236}">
                <a16:creationId xmlns:a16="http://schemas.microsoft.com/office/drawing/2014/main" id="{82B3B4A0-C375-41A6-AA76-9E9EE3A791C0}"/>
              </a:ext>
            </a:extLst>
          </p:cNvPr>
          <p:cNvSpPr>
            <a:spLocks noGrp="1"/>
          </p:cNvSpPr>
          <p:nvPr>
            <p:ph type="title" hasCustomPrompt="1"/>
          </p:nvPr>
        </p:nvSpPr>
        <p:spPr bwMode="white">
          <a:xfrm>
            <a:off x="269875" y="269875"/>
            <a:ext cx="11650663" cy="928800"/>
          </a:xfrm>
        </p:spPr>
        <p:txBody>
          <a:bodyPr/>
          <a:lstStyle>
            <a:lvl1pPr>
              <a:defRPr sz="4400">
                <a:solidFill>
                  <a:schemeClr val="tx1"/>
                </a:solidFill>
              </a:defRPr>
            </a:lvl1pPr>
          </a:lstStyle>
          <a:p>
            <a:r>
              <a:rPr lang="en-GB"/>
              <a:t>Click to add Agenda title</a:t>
            </a:r>
          </a:p>
        </p:txBody>
      </p:sp>
      <p:sp>
        <p:nvSpPr>
          <p:cNvPr id="7" name="Text Placeholder 2"/>
          <p:cNvSpPr>
            <a:spLocks noGrp="1"/>
          </p:cNvSpPr>
          <p:nvPr>
            <p:ph type="body" sz="quarter" idx="13" hasCustomPrompt="1"/>
          </p:nvPr>
        </p:nvSpPr>
        <p:spPr bwMode="white">
          <a:xfrm>
            <a:off x="269875" y="1930400"/>
            <a:ext cx="11650663" cy="3337719"/>
          </a:xfrm>
        </p:spPr>
        <p:txBody>
          <a:bodyPr/>
          <a:lstStyle>
            <a:lvl1pPr marL="306000" indent="-180000">
              <a:lnSpc>
                <a:spcPct val="100000"/>
              </a:lnSpc>
              <a:buFont typeface="DFDS Sans" panose="00000500000000000000" pitchFamily="2" charset="0"/>
              <a:buChar char="•"/>
              <a:defRPr sz="2400">
                <a:solidFill>
                  <a:schemeClr val="tx1"/>
                </a:solidFill>
              </a:defRPr>
            </a:lvl1pPr>
            <a:lvl2pPr marL="306000" indent="-180000">
              <a:lnSpc>
                <a:spcPct val="100000"/>
              </a:lnSpc>
              <a:spcBef>
                <a:spcPts val="600"/>
              </a:spcBef>
              <a:spcAft>
                <a:spcPts val="600"/>
              </a:spcAft>
              <a:buFont typeface="DFDS Sans" panose="00000500000000000000" pitchFamily="2" charset="0"/>
              <a:buChar char="•"/>
              <a:defRPr sz="2400" b="0">
                <a:solidFill>
                  <a:schemeClr val="tx1"/>
                </a:solidFill>
              </a:defRPr>
            </a:lvl2pPr>
            <a:lvl3pPr marL="306000" indent="-180000">
              <a:lnSpc>
                <a:spcPct val="100000"/>
              </a:lnSpc>
              <a:spcBef>
                <a:spcPts val="600"/>
              </a:spcBef>
              <a:spcAft>
                <a:spcPts val="600"/>
              </a:spcAft>
              <a:buFont typeface="DFDS Sans" panose="00000500000000000000" pitchFamily="2" charset="0"/>
              <a:buChar char="•"/>
              <a:defRPr sz="2400" b="0">
                <a:solidFill>
                  <a:schemeClr val="tx1"/>
                </a:solidFill>
              </a:defRPr>
            </a:lvl3pPr>
            <a:lvl4pPr marL="306000" indent="-180000">
              <a:lnSpc>
                <a:spcPct val="100000"/>
              </a:lnSpc>
              <a:spcBef>
                <a:spcPts val="600"/>
              </a:spcBef>
              <a:spcAft>
                <a:spcPts val="600"/>
              </a:spcAft>
              <a:buFont typeface="DFDS Sans" panose="00000500000000000000" pitchFamily="2" charset="0"/>
              <a:buChar char="•"/>
              <a:defRPr sz="2400" b="0">
                <a:solidFill>
                  <a:schemeClr val="tx1"/>
                </a:solidFill>
              </a:defRPr>
            </a:lvl4pPr>
            <a:lvl5pPr marL="306000" indent="-180000">
              <a:lnSpc>
                <a:spcPct val="100000"/>
              </a:lnSpc>
              <a:spcBef>
                <a:spcPts val="600"/>
              </a:spcBef>
              <a:spcAft>
                <a:spcPts val="600"/>
              </a:spcAft>
              <a:buFont typeface="DFDS Sans" panose="00000500000000000000" pitchFamily="2" charset="0"/>
              <a:buChar char="•"/>
              <a:defRPr sz="2400" b="0">
                <a:solidFill>
                  <a:schemeClr val="tx1"/>
                </a:solidFill>
              </a:defRPr>
            </a:lvl5pPr>
            <a:lvl6pPr marL="306000" indent="-180000">
              <a:lnSpc>
                <a:spcPct val="100000"/>
              </a:lnSpc>
              <a:spcBef>
                <a:spcPts val="600"/>
              </a:spcBef>
              <a:spcAft>
                <a:spcPts val="600"/>
              </a:spcAft>
              <a:buFont typeface="DFDS Sans" panose="00000500000000000000" pitchFamily="2" charset="0"/>
              <a:buChar char="•"/>
              <a:defRPr sz="2400" b="0">
                <a:solidFill>
                  <a:schemeClr val="tx1"/>
                </a:solidFill>
              </a:defRPr>
            </a:lvl6pPr>
            <a:lvl7pPr marL="306000" indent="-180000">
              <a:lnSpc>
                <a:spcPct val="100000"/>
              </a:lnSpc>
              <a:spcBef>
                <a:spcPts val="600"/>
              </a:spcBef>
              <a:spcAft>
                <a:spcPts val="600"/>
              </a:spcAft>
              <a:buFont typeface="DFDS Sans" panose="00000500000000000000" pitchFamily="2" charset="0"/>
              <a:buChar char="•"/>
              <a:defRPr sz="2400" b="0">
                <a:solidFill>
                  <a:schemeClr val="tx1"/>
                </a:solidFill>
              </a:defRPr>
            </a:lvl7pPr>
            <a:lvl8pPr marL="306000" indent="-180000">
              <a:lnSpc>
                <a:spcPct val="100000"/>
              </a:lnSpc>
              <a:spcBef>
                <a:spcPts val="600"/>
              </a:spcBef>
              <a:spcAft>
                <a:spcPts val="600"/>
              </a:spcAft>
              <a:buFont typeface="DFDS Sans" panose="00000500000000000000" pitchFamily="2" charset="0"/>
              <a:buChar char="•"/>
              <a:defRPr sz="2400" b="0">
                <a:solidFill>
                  <a:schemeClr val="tx1"/>
                </a:solidFill>
              </a:defRPr>
            </a:lvl8pPr>
            <a:lvl9pPr marL="306000" indent="-180000">
              <a:lnSpc>
                <a:spcPct val="100000"/>
              </a:lnSpc>
              <a:spcBef>
                <a:spcPts val="600"/>
              </a:spcBef>
              <a:spcAft>
                <a:spcPts val="600"/>
              </a:spcAft>
              <a:buFont typeface="DFDS Sans" panose="00000500000000000000" pitchFamily="2" charset="0"/>
              <a:buChar char="•"/>
              <a:defRPr sz="2400" b="0">
                <a:solidFill>
                  <a:schemeClr val="tx1"/>
                </a:solidFill>
              </a:defRPr>
            </a:lvl9pPr>
          </a:lstStyle>
          <a:p>
            <a:pPr lvl="0"/>
            <a:r>
              <a:rPr lang="en-GB" noProof="0"/>
              <a:t>Click to add agenda poi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 level</a:t>
            </a:r>
          </a:p>
          <a:p>
            <a:pPr lvl="6"/>
            <a:r>
              <a:rPr lang="en-GB" noProof="0"/>
              <a:t>7 level</a:t>
            </a:r>
          </a:p>
          <a:p>
            <a:pPr lvl="7"/>
            <a:r>
              <a:rPr lang="en-GB" noProof="0"/>
              <a:t>8 level</a:t>
            </a:r>
          </a:p>
          <a:p>
            <a:pPr lvl="8"/>
            <a:r>
              <a:rPr lang="en-GB" noProof="0"/>
              <a:t>9 level</a:t>
            </a:r>
          </a:p>
        </p:txBody>
      </p:sp>
    </p:spTree>
    <p:extLst>
      <p:ext uri="{BB962C8B-B14F-4D97-AF65-F5344CB8AC3E}">
        <p14:creationId xmlns:p14="http://schemas.microsoft.com/office/powerpoint/2010/main" val="2198317535"/>
      </p:ext>
    </p:extLst>
  </p:cSld>
  <p:clrMapOvr>
    <a:overrideClrMapping bg1="dk1" tx1="lt1" bg2="dk2" tx2="lt2" accent1="l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genda B">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0BB1920A-562A-878B-5D6C-A4A1B8FF132D}"/>
              </a:ext>
            </a:extLst>
          </p:cNvPr>
          <p:cNvSpPr/>
          <p:nvPr userDrawn="1"/>
        </p:nvSpPr>
        <p:spPr>
          <a:xfrm>
            <a:off x="0" y="0"/>
            <a:ext cx="121932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3" name="Freeform: Shape 12">
            <a:extLst>
              <a:ext uri="{FF2B5EF4-FFF2-40B4-BE49-F238E27FC236}">
                <a16:creationId xmlns:a16="http://schemas.microsoft.com/office/drawing/2014/main" id="{A348E438-7C11-8376-7175-51F17178D352}"/>
              </a:ext>
            </a:extLst>
          </p:cNvPr>
          <p:cNvSpPr/>
          <p:nvPr/>
        </p:nvSpPr>
        <p:spPr>
          <a:xfrm>
            <a:off x="0" y="4762"/>
            <a:ext cx="12192000" cy="1343025"/>
          </a:xfrm>
          <a:custGeom>
            <a:avLst/>
            <a:gdLst>
              <a:gd name="connsiteX0" fmla="*/ 0 w 12192000"/>
              <a:gd name="connsiteY0" fmla="*/ 0 h 1343025"/>
              <a:gd name="connsiteX1" fmla="*/ 12192000 w 12192000"/>
              <a:gd name="connsiteY1" fmla="*/ 0 h 1343025"/>
              <a:gd name="connsiteX2" fmla="*/ 12192000 w 12192000"/>
              <a:gd name="connsiteY2" fmla="*/ 1343025 h 1343025"/>
              <a:gd name="connsiteX3" fmla="*/ 0 w 12192000"/>
              <a:gd name="connsiteY3" fmla="*/ 1343025 h 1343025"/>
            </a:gdLst>
            <a:ahLst/>
            <a:cxnLst>
              <a:cxn ang="0">
                <a:pos x="connsiteX0" y="connsiteY0"/>
              </a:cxn>
              <a:cxn ang="0">
                <a:pos x="connsiteX1" y="connsiteY1"/>
              </a:cxn>
              <a:cxn ang="0">
                <a:pos x="connsiteX2" y="connsiteY2"/>
              </a:cxn>
              <a:cxn ang="0">
                <a:pos x="connsiteX3" y="connsiteY3"/>
              </a:cxn>
            </a:cxnLst>
            <a:rect l="l" t="t" r="r" b="b"/>
            <a:pathLst>
              <a:path w="12192000" h="1343025">
                <a:moveTo>
                  <a:pt x="0" y="0"/>
                </a:moveTo>
                <a:lnTo>
                  <a:pt x="12192000" y="0"/>
                </a:lnTo>
                <a:lnTo>
                  <a:pt x="12192000" y="1343025"/>
                </a:lnTo>
                <a:lnTo>
                  <a:pt x="0" y="1343025"/>
                </a:lnTo>
                <a:close/>
              </a:path>
            </a:pathLst>
          </a:custGeom>
          <a:solidFill>
            <a:srgbClr val="DCD7C0"/>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93AA1E87-62B0-4334-6D42-32B5E779FC34}"/>
              </a:ext>
            </a:extLst>
          </p:cNvPr>
          <p:cNvSpPr/>
          <p:nvPr/>
        </p:nvSpPr>
        <p:spPr bwMode="white">
          <a:xfrm>
            <a:off x="0" y="1347787"/>
            <a:ext cx="12192000" cy="366712"/>
          </a:xfrm>
          <a:custGeom>
            <a:avLst/>
            <a:gdLst>
              <a:gd name="connsiteX0" fmla="*/ 0 w 12192000"/>
              <a:gd name="connsiteY0" fmla="*/ 0 h 366712"/>
              <a:gd name="connsiteX1" fmla="*/ 12192000 w 12192000"/>
              <a:gd name="connsiteY1" fmla="*/ 0 h 366712"/>
              <a:gd name="connsiteX2" fmla="*/ 12192000 w 12192000"/>
              <a:gd name="connsiteY2" fmla="*/ 366713 h 366712"/>
              <a:gd name="connsiteX3" fmla="*/ 0 w 12192000"/>
              <a:gd name="connsiteY3" fmla="*/ 366713 h 366712"/>
            </a:gdLst>
            <a:ahLst/>
            <a:cxnLst>
              <a:cxn ang="0">
                <a:pos x="connsiteX0" y="connsiteY0"/>
              </a:cxn>
              <a:cxn ang="0">
                <a:pos x="connsiteX1" y="connsiteY1"/>
              </a:cxn>
              <a:cxn ang="0">
                <a:pos x="connsiteX2" y="connsiteY2"/>
              </a:cxn>
              <a:cxn ang="0">
                <a:pos x="connsiteX3" y="connsiteY3"/>
              </a:cxn>
            </a:cxnLst>
            <a:rect l="l" t="t" r="r" b="b"/>
            <a:pathLst>
              <a:path w="12192000" h="366712">
                <a:moveTo>
                  <a:pt x="0" y="0"/>
                </a:moveTo>
                <a:lnTo>
                  <a:pt x="12192000" y="0"/>
                </a:lnTo>
                <a:lnTo>
                  <a:pt x="12192000" y="366713"/>
                </a:lnTo>
                <a:lnTo>
                  <a:pt x="0" y="366713"/>
                </a:lnTo>
                <a:close/>
              </a:path>
            </a:pathLst>
          </a:custGeom>
          <a:solidFill>
            <a:srgbClr val="FFFFFF"/>
          </a:solidFill>
          <a:ln w="9525" cap="flat">
            <a:noFill/>
            <a:prstDash val="solid"/>
            <a:miter/>
          </a:ln>
        </p:spPr>
        <p:txBody>
          <a:bodyPr rtlCol="0" anchor="ctr"/>
          <a:lstStyle/>
          <a:p>
            <a:endParaRPr lang="en-GB"/>
          </a:p>
        </p:txBody>
      </p:sp>
      <p:sp>
        <p:nvSpPr>
          <p:cNvPr id="10" name="Date Placeholder 6" hidden="1">
            <a:extLst>
              <a:ext uri="{FF2B5EF4-FFF2-40B4-BE49-F238E27FC236}">
                <a16:creationId xmlns:a16="http://schemas.microsoft.com/office/drawing/2014/main" id="{A0208642-FAE2-4418-9014-1CE767DCC7FD}"/>
              </a:ext>
            </a:extLst>
          </p:cNvPr>
          <p:cNvSpPr>
            <a:spLocks noGrp="1"/>
          </p:cNvSpPr>
          <p:nvPr userDrawn="1">
            <p:ph type="dt" sz="half" idx="15"/>
          </p:nvPr>
        </p:nvSpPr>
        <p:spPr>
          <a:xfrm>
            <a:off x="0" y="6858000"/>
            <a:ext cx="0" cy="0"/>
          </a:xfrm>
          <a:prstGeom prst="rect">
            <a:avLst/>
          </a:prstGeom>
        </p:spPr>
        <p:txBody>
          <a:bodyPr/>
          <a:lstStyle>
            <a:lvl1pPr>
              <a:defRPr sz="100">
                <a:noFill/>
              </a:defRPr>
            </a:lvl1pPr>
          </a:lstStyle>
          <a:p>
            <a:fld id="{B1EBDB04-A4B5-4654-AD29-70FE76818D20}" type="datetime4">
              <a:rPr lang="en-GB" smtClean="0"/>
              <a:t>20 February 2025</a:t>
            </a:fld>
            <a:endParaRPr lang="en-GB"/>
          </a:p>
        </p:txBody>
      </p:sp>
      <p:sp>
        <p:nvSpPr>
          <p:cNvPr id="11" name="Footer Placeholder 8" hidden="1">
            <a:extLst>
              <a:ext uri="{FF2B5EF4-FFF2-40B4-BE49-F238E27FC236}">
                <a16:creationId xmlns:a16="http://schemas.microsoft.com/office/drawing/2014/main" id="{E7F83165-73E5-45CF-B88B-91410D08B505}"/>
              </a:ext>
            </a:extLst>
          </p:cNvPr>
          <p:cNvSpPr>
            <a:spLocks noGrp="1"/>
          </p:cNvSpPr>
          <p:nvPr userDrawn="1">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F03054CD-9DA2-4418-92CC-F992664950B9}"/>
              </a:ext>
            </a:extLst>
          </p:cNvPr>
          <p:cNvSpPr>
            <a:spLocks noGrp="1"/>
          </p:cNvSpPr>
          <p:nvPr userDrawn="1">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pic>
        <p:nvPicPr>
          <p:cNvPr id="8" name="Logo">
            <a:extLst>
              <a:ext uri="{FF2B5EF4-FFF2-40B4-BE49-F238E27FC236}">
                <a16:creationId xmlns:a16="http://schemas.microsoft.com/office/drawing/2014/main" id="{15D0DB54-4D1D-906B-87FD-E5A2955C7F2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929938" y="6253163"/>
            <a:ext cx="1000125" cy="333375"/>
          </a:xfrm>
          <a:prstGeom prst="rect">
            <a:avLst/>
          </a:prstGeom>
        </p:spPr>
      </p:pic>
      <p:sp>
        <p:nvSpPr>
          <p:cNvPr id="3" name="Title 2">
            <a:extLst>
              <a:ext uri="{FF2B5EF4-FFF2-40B4-BE49-F238E27FC236}">
                <a16:creationId xmlns:a16="http://schemas.microsoft.com/office/drawing/2014/main" id="{82B3B4A0-C375-41A6-AA76-9E9EE3A791C0}"/>
              </a:ext>
            </a:extLst>
          </p:cNvPr>
          <p:cNvSpPr>
            <a:spLocks noGrp="1"/>
          </p:cNvSpPr>
          <p:nvPr userDrawn="1">
            <p:ph type="title" hasCustomPrompt="1"/>
          </p:nvPr>
        </p:nvSpPr>
        <p:spPr bwMode="white">
          <a:xfrm>
            <a:off x="269875" y="269875"/>
            <a:ext cx="11650663" cy="928800"/>
          </a:xfrm>
        </p:spPr>
        <p:txBody>
          <a:bodyPr/>
          <a:lstStyle>
            <a:lvl1pPr>
              <a:defRPr sz="4400">
                <a:solidFill>
                  <a:schemeClr val="tx2"/>
                </a:solidFill>
              </a:defRPr>
            </a:lvl1pPr>
          </a:lstStyle>
          <a:p>
            <a:r>
              <a:rPr lang="en-GB"/>
              <a:t>Click to add Agenda title</a:t>
            </a:r>
          </a:p>
        </p:txBody>
      </p:sp>
      <p:sp>
        <p:nvSpPr>
          <p:cNvPr id="7" name="Text Placeholder 2"/>
          <p:cNvSpPr>
            <a:spLocks noGrp="1"/>
          </p:cNvSpPr>
          <p:nvPr userDrawn="1">
            <p:ph type="body" sz="quarter" idx="13" hasCustomPrompt="1"/>
          </p:nvPr>
        </p:nvSpPr>
        <p:spPr bwMode="white">
          <a:xfrm>
            <a:off x="269875" y="1930400"/>
            <a:ext cx="11650663" cy="3337719"/>
          </a:xfrm>
        </p:spPr>
        <p:txBody>
          <a:bodyPr/>
          <a:lstStyle>
            <a:lvl1pPr marL="306000" indent="-180000">
              <a:lnSpc>
                <a:spcPct val="100000"/>
              </a:lnSpc>
              <a:buFont typeface="DFDS Sans" panose="00000500000000000000" pitchFamily="2" charset="0"/>
              <a:buChar char="•"/>
              <a:defRPr sz="2400">
                <a:solidFill>
                  <a:schemeClr val="bg1"/>
                </a:solidFill>
              </a:defRPr>
            </a:lvl1pPr>
            <a:lvl2pPr marL="306000" indent="-180000">
              <a:lnSpc>
                <a:spcPct val="100000"/>
              </a:lnSpc>
              <a:spcBef>
                <a:spcPts val="600"/>
              </a:spcBef>
              <a:spcAft>
                <a:spcPts val="600"/>
              </a:spcAft>
              <a:buFont typeface="DFDS Sans" panose="00000500000000000000" pitchFamily="2" charset="0"/>
              <a:buChar char="•"/>
              <a:defRPr sz="2400" b="0">
                <a:solidFill>
                  <a:schemeClr val="bg1"/>
                </a:solidFill>
              </a:defRPr>
            </a:lvl2pPr>
            <a:lvl3pPr marL="306000" indent="-180000">
              <a:lnSpc>
                <a:spcPct val="100000"/>
              </a:lnSpc>
              <a:spcBef>
                <a:spcPts val="600"/>
              </a:spcBef>
              <a:spcAft>
                <a:spcPts val="600"/>
              </a:spcAft>
              <a:buFont typeface="DFDS Sans" panose="00000500000000000000" pitchFamily="2" charset="0"/>
              <a:buChar char="•"/>
              <a:defRPr sz="2400" b="0">
                <a:solidFill>
                  <a:schemeClr val="bg1"/>
                </a:solidFill>
              </a:defRPr>
            </a:lvl3pPr>
            <a:lvl4pPr marL="306000" indent="-180000">
              <a:lnSpc>
                <a:spcPct val="100000"/>
              </a:lnSpc>
              <a:spcBef>
                <a:spcPts val="600"/>
              </a:spcBef>
              <a:spcAft>
                <a:spcPts val="600"/>
              </a:spcAft>
              <a:buFont typeface="DFDS Sans" panose="00000500000000000000" pitchFamily="2" charset="0"/>
              <a:buChar char="•"/>
              <a:defRPr sz="2400" b="0">
                <a:solidFill>
                  <a:schemeClr val="bg1"/>
                </a:solidFill>
              </a:defRPr>
            </a:lvl4pPr>
            <a:lvl5pPr marL="306000" indent="-180000">
              <a:lnSpc>
                <a:spcPct val="100000"/>
              </a:lnSpc>
              <a:spcBef>
                <a:spcPts val="600"/>
              </a:spcBef>
              <a:spcAft>
                <a:spcPts val="600"/>
              </a:spcAft>
              <a:buFont typeface="DFDS Sans" panose="00000500000000000000" pitchFamily="2" charset="0"/>
              <a:buChar char="•"/>
              <a:defRPr sz="2400" b="0">
                <a:solidFill>
                  <a:schemeClr val="bg1"/>
                </a:solidFill>
              </a:defRPr>
            </a:lvl5pPr>
            <a:lvl6pPr marL="306000" indent="-180000">
              <a:lnSpc>
                <a:spcPct val="100000"/>
              </a:lnSpc>
              <a:spcBef>
                <a:spcPts val="600"/>
              </a:spcBef>
              <a:spcAft>
                <a:spcPts val="600"/>
              </a:spcAft>
              <a:buFont typeface="DFDS Sans" panose="00000500000000000000" pitchFamily="2" charset="0"/>
              <a:buChar char="•"/>
              <a:defRPr sz="2400" b="0">
                <a:solidFill>
                  <a:schemeClr val="bg1"/>
                </a:solidFill>
              </a:defRPr>
            </a:lvl6pPr>
            <a:lvl7pPr marL="306000" indent="-180000">
              <a:lnSpc>
                <a:spcPct val="100000"/>
              </a:lnSpc>
              <a:spcBef>
                <a:spcPts val="600"/>
              </a:spcBef>
              <a:spcAft>
                <a:spcPts val="600"/>
              </a:spcAft>
              <a:buFont typeface="DFDS Sans" panose="00000500000000000000" pitchFamily="2" charset="0"/>
              <a:buChar char="•"/>
              <a:defRPr sz="2400" b="0">
                <a:solidFill>
                  <a:schemeClr val="bg1"/>
                </a:solidFill>
              </a:defRPr>
            </a:lvl7pPr>
            <a:lvl8pPr marL="306000" indent="-180000">
              <a:lnSpc>
                <a:spcPct val="100000"/>
              </a:lnSpc>
              <a:spcBef>
                <a:spcPts val="600"/>
              </a:spcBef>
              <a:spcAft>
                <a:spcPts val="600"/>
              </a:spcAft>
              <a:buFont typeface="DFDS Sans" panose="00000500000000000000" pitchFamily="2" charset="0"/>
              <a:buChar char="•"/>
              <a:defRPr sz="2400" b="0">
                <a:solidFill>
                  <a:schemeClr val="bg1"/>
                </a:solidFill>
              </a:defRPr>
            </a:lvl8pPr>
            <a:lvl9pPr marL="306000" indent="-180000">
              <a:lnSpc>
                <a:spcPct val="100000"/>
              </a:lnSpc>
              <a:spcBef>
                <a:spcPts val="600"/>
              </a:spcBef>
              <a:spcAft>
                <a:spcPts val="600"/>
              </a:spcAft>
              <a:buFont typeface="DFDS Sans" panose="00000500000000000000" pitchFamily="2" charset="0"/>
              <a:buChar char="•"/>
              <a:defRPr sz="2400" b="0">
                <a:solidFill>
                  <a:schemeClr val="bg1"/>
                </a:solidFill>
              </a:defRPr>
            </a:lvl9pPr>
          </a:lstStyle>
          <a:p>
            <a:pPr lvl="0"/>
            <a:r>
              <a:rPr lang="en-GB" noProof="0"/>
              <a:t>Click to add agenda poi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 level</a:t>
            </a:r>
          </a:p>
          <a:p>
            <a:pPr lvl="6"/>
            <a:r>
              <a:rPr lang="en-GB" noProof="0"/>
              <a:t>7 level</a:t>
            </a:r>
          </a:p>
          <a:p>
            <a:pPr lvl="7"/>
            <a:r>
              <a:rPr lang="en-GB" noProof="0"/>
              <a:t>8 level</a:t>
            </a:r>
          </a:p>
          <a:p>
            <a:pPr lvl="8"/>
            <a:r>
              <a:rPr lang="en-GB" noProof="0"/>
              <a:t>9 level</a:t>
            </a:r>
          </a:p>
        </p:txBody>
      </p:sp>
    </p:spTree>
    <p:extLst>
      <p:ext uri="{BB962C8B-B14F-4D97-AF65-F5344CB8AC3E}">
        <p14:creationId xmlns:p14="http://schemas.microsoft.com/office/powerpoint/2010/main" val="18915055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one content A">
    <p:spTree>
      <p:nvGrpSpPr>
        <p:cNvPr id="1" name=""/>
        <p:cNvGrpSpPr/>
        <p:nvPr/>
      </p:nvGrpSpPr>
      <p:grpSpPr>
        <a:xfrm>
          <a:off x="0" y="0"/>
          <a:ext cx="0" cy="0"/>
          <a:chOff x="0" y="0"/>
          <a:chExt cx="0" cy="0"/>
        </a:xfrm>
      </p:grpSpPr>
      <p:sp>
        <p:nvSpPr>
          <p:cNvPr id="5" name="Background">
            <a:extLst>
              <a:ext uri="{FF2B5EF4-FFF2-40B4-BE49-F238E27FC236}">
                <a16:creationId xmlns:a16="http://schemas.microsoft.com/office/drawing/2014/main" id="{6BB9D45D-471B-841F-1575-B6E1408A5802}"/>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a:extLst>
              <a:ext uri="{FF2B5EF4-FFF2-40B4-BE49-F238E27FC236}">
                <a16:creationId xmlns:a16="http://schemas.microsoft.com/office/drawing/2014/main" id="{4166AEB5-52F0-4660-8F42-9D54730AF814}"/>
              </a:ext>
            </a:extLst>
          </p:cNvPr>
          <p:cNvSpPr>
            <a:spLocks noGrp="1"/>
          </p:cNvSpPr>
          <p:nvPr>
            <p:ph type="title" hasCustomPrompt="1"/>
          </p:nvPr>
        </p:nvSpPr>
        <p:spPr/>
        <p:txBody>
          <a:bodyPr/>
          <a:lstStyle/>
          <a:p>
            <a:r>
              <a:rPr lang="en-GB"/>
              <a:t>Click to add title</a:t>
            </a:r>
          </a:p>
        </p:txBody>
      </p:sp>
      <p:sp>
        <p:nvSpPr>
          <p:cNvPr id="3" name="Content Placeholder 2"/>
          <p:cNvSpPr>
            <a:spLocks noGrp="1"/>
          </p:cNvSpPr>
          <p:nvPr>
            <p:ph idx="1" hasCustomPrompt="1"/>
          </p:nvPr>
        </p:nvSpPr>
        <p:spPr>
          <a:xfrm>
            <a:off x="269875" y="1393909"/>
            <a:ext cx="11652249" cy="4746541"/>
          </a:xfrm>
        </p:spPr>
        <p:txBody>
          <a:bodyPr/>
          <a:lstStyle>
            <a:lvl1pPr>
              <a:defRPr/>
            </a:lvl1pPr>
            <a:lvl5pPr>
              <a:defRPr/>
            </a:lvl5pPr>
            <a:lvl6pPr>
              <a:defRPr/>
            </a:lvl6pPr>
            <a:lvl7pPr>
              <a:defRPr/>
            </a:lvl7pPr>
            <a:lvl8pPr>
              <a:defRPr/>
            </a:lvl8pPr>
            <a:lvl9pPr>
              <a:defRPr/>
            </a:lvl9pPr>
          </a:lstStyle>
          <a:p>
            <a:pPr lvl="0"/>
            <a:r>
              <a:rPr lang="en-GB" noProof="0"/>
              <a:t>Click to add text                                                                                                                                                                                                           Press ENTER then TAB to view next text style                                                                                                                                                 Press SHIFT+TAB to view previous text style</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 level</a:t>
            </a:r>
          </a:p>
          <a:p>
            <a:pPr lvl="6"/>
            <a:r>
              <a:rPr lang="en-GB" noProof="0"/>
              <a:t>7 level</a:t>
            </a:r>
          </a:p>
          <a:p>
            <a:pPr lvl="7"/>
            <a:r>
              <a:rPr lang="en-GB" noProof="0"/>
              <a:t>8 level</a:t>
            </a:r>
          </a:p>
          <a:p>
            <a:pPr lvl="8"/>
            <a:r>
              <a:rPr lang="en-GB" noProof="0"/>
              <a:t>9 level</a:t>
            </a:r>
          </a:p>
        </p:txBody>
      </p:sp>
      <p:sp>
        <p:nvSpPr>
          <p:cNvPr id="7" name="Date Placeholder 6">
            <a:extLst>
              <a:ext uri="{FF2B5EF4-FFF2-40B4-BE49-F238E27FC236}">
                <a16:creationId xmlns:a16="http://schemas.microsoft.com/office/drawing/2014/main" id="{14D980D4-A6FE-48C4-3FB4-A170F1DD3EFA}"/>
              </a:ext>
            </a:extLst>
          </p:cNvPr>
          <p:cNvSpPr>
            <a:spLocks noGrp="1"/>
          </p:cNvSpPr>
          <p:nvPr>
            <p:ph type="dt" sz="half" idx="10"/>
          </p:nvPr>
        </p:nvSpPr>
        <p:spPr>
          <a:xfrm>
            <a:off x="0" y="6858000"/>
            <a:ext cx="0" cy="0"/>
          </a:xfrm>
          <a:prstGeom prst="rect">
            <a:avLst/>
          </a:prstGeom>
        </p:spPr>
        <p:txBody>
          <a:bodyPr/>
          <a:lstStyle>
            <a:lvl1pPr>
              <a:defRPr sz="100">
                <a:noFill/>
              </a:defRPr>
            </a:lvl1pPr>
          </a:lstStyle>
          <a:p>
            <a:fld id="{4534B186-0D07-499D-916C-44DDF558A592}" type="datetime4">
              <a:rPr lang="en-GB" smtClean="0"/>
              <a:t>20 February 2025</a:t>
            </a:fld>
            <a:endParaRPr lang="en-GB"/>
          </a:p>
        </p:txBody>
      </p:sp>
      <p:sp>
        <p:nvSpPr>
          <p:cNvPr id="8" name="Footer Placeholder 7">
            <a:extLst>
              <a:ext uri="{FF2B5EF4-FFF2-40B4-BE49-F238E27FC236}">
                <a16:creationId xmlns:a16="http://schemas.microsoft.com/office/drawing/2014/main" id="{09C9C598-2ADD-7AAD-BC20-214AE14F332E}"/>
              </a:ext>
            </a:extLst>
          </p:cNvPr>
          <p:cNvSpPr>
            <a:spLocks noGrp="1"/>
          </p:cNvSpPr>
          <p:nvPr>
            <p:ph type="ftr" sz="quarter" idx="11"/>
          </p:nvPr>
        </p:nvSpPr>
        <p:spPr/>
        <p:txBody>
          <a:bodyPr tIns="126000"/>
          <a:lstStyle>
            <a:lvl1pPr>
              <a:defRPr sz="800"/>
            </a:lvl1pPr>
          </a:lstStyle>
          <a:p>
            <a:endParaRPr lang="en-GB"/>
          </a:p>
        </p:txBody>
      </p:sp>
      <p:sp>
        <p:nvSpPr>
          <p:cNvPr id="9" name="Slide Number Placeholder 8">
            <a:extLst>
              <a:ext uri="{FF2B5EF4-FFF2-40B4-BE49-F238E27FC236}">
                <a16:creationId xmlns:a16="http://schemas.microsoft.com/office/drawing/2014/main" id="{338DCD92-64F9-6FD5-F0BC-D1B2259B4E48}"/>
              </a:ext>
            </a:extLst>
          </p:cNvPr>
          <p:cNvSpPr>
            <a:spLocks noGrp="1"/>
          </p:cNvSpPr>
          <p:nvPr>
            <p:ph type="sldNum" sz="quarter" idx="12"/>
          </p:nvPr>
        </p:nvSpPr>
        <p:spPr/>
        <p:txBody>
          <a:bodyPr tIns="126000"/>
          <a:lstStyle>
            <a:lvl1pPr>
              <a:defRPr sz="800"/>
            </a:lvl1pPr>
          </a:lstStyle>
          <a:p>
            <a:fld id="{23AA811B-2EBD-4900-905E-5BE206449611}" type="slidenum">
              <a:rPr lang="en-GB" smtClean="0"/>
              <a:pPr/>
              <a:t>‹#›</a:t>
            </a:fld>
            <a:endParaRPr lang="en-GB"/>
          </a:p>
        </p:txBody>
      </p:sp>
      <p:sp>
        <p:nvSpPr>
          <p:cNvPr id="6" name="Footer logo">
            <a:extLst>
              <a:ext uri="{FF2B5EF4-FFF2-40B4-BE49-F238E27FC236}">
                <a16:creationId xmlns:a16="http://schemas.microsoft.com/office/drawing/2014/main" id="{C4179CEE-AF25-B659-A784-C5E36434F68B}"/>
              </a:ext>
            </a:extLst>
          </p:cNvPr>
          <p:cNvSpPr>
            <a:spLocks noChangeAspect="1"/>
          </p:cNvSpPr>
          <p:nvPr userDrawn="1"/>
        </p:nvSpPr>
        <p:spPr>
          <a:xfrm>
            <a:off x="11634124" y="6504694"/>
            <a:ext cx="288000" cy="81844"/>
          </a:xfrm>
          <a:custGeom>
            <a:avLst/>
            <a:gdLst>
              <a:gd name="connsiteX0" fmla="*/ 109963 w 193596"/>
              <a:gd name="connsiteY0" fmla="*/ 11125 h 55016"/>
              <a:gd name="connsiteX1" fmla="*/ 109963 w 193596"/>
              <a:gd name="connsiteY1" fmla="*/ 43891 h 55016"/>
              <a:gd name="connsiteX2" fmla="*/ 118345 w 193596"/>
              <a:gd name="connsiteY2" fmla="*/ 43891 h 55016"/>
              <a:gd name="connsiteX3" fmla="*/ 133356 w 193596"/>
              <a:gd name="connsiteY3" fmla="*/ 27356 h 55016"/>
              <a:gd name="connsiteX4" fmla="*/ 118421 w 193596"/>
              <a:gd name="connsiteY4" fmla="*/ 11125 h 55016"/>
              <a:gd name="connsiteX5" fmla="*/ 11811 w 193596"/>
              <a:gd name="connsiteY5" fmla="*/ 11125 h 55016"/>
              <a:gd name="connsiteX6" fmla="*/ 11811 w 193596"/>
              <a:gd name="connsiteY6" fmla="*/ 43891 h 55016"/>
              <a:gd name="connsiteX7" fmla="*/ 20193 w 193596"/>
              <a:gd name="connsiteY7" fmla="*/ 43891 h 55016"/>
              <a:gd name="connsiteX8" fmla="*/ 35204 w 193596"/>
              <a:gd name="connsiteY8" fmla="*/ 27356 h 55016"/>
              <a:gd name="connsiteX9" fmla="*/ 20269 w 193596"/>
              <a:gd name="connsiteY9" fmla="*/ 11125 h 55016"/>
              <a:gd name="connsiteX10" fmla="*/ 98152 w 193596"/>
              <a:gd name="connsiteY10" fmla="*/ 838 h 55016"/>
              <a:gd name="connsiteX11" fmla="*/ 119564 w 193596"/>
              <a:gd name="connsiteY11" fmla="*/ 838 h 55016"/>
              <a:gd name="connsiteX12" fmla="*/ 145396 w 193596"/>
              <a:gd name="connsiteY12" fmla="*/ 27356 h 55016"/>
              <a:gd name="connsiteX13" fmla="*/ 119564 w 193596"/>
              <a:gd name="connsiteY13" fmla="*/ 54178 h 55016"/>
              <a:gd name="connsiteX14" fmla="*/ 98152 w 193596"/>
              <a:gd name="connsiteY14" fmla="*/ 54178 h 55016"/>
              <a:gd name="connsiteX15" fmla="*/ 55438 w 193596"/>
              <a:gd name="connsiteY15" fmla="*/ 838 h 55016"/>
              <a:gd name="connsiteX16" fmla="*/ 89728 w 193596"/>
              <a:gd name="connsiteY16" fmla="*/ 838 h 55016"/>
              <a:gd name="connsiteX17" fmla="*/ 89728 w 193596"/>
              <a:gd name="connsiteY17" fmla="*/ 11049 h 55016"/>
              <a:gd name="connsiteX18" fmla="*/ 67249 w 193596"/>
              <a:gd name="connsiteY18" fmla="*/ 11049 h 55016"/>
              <a:gd name="connsiteX19" fmla="*/ 67249 w 193596"/>
              <a:gd name="connsiteY19" fmla="*/ 23774 h 55016"/>
              <a:gd name="connsiteX20" fmla="*/ 89042 w 193596"/>
              <a:gd name="connsiteY20" fmla="*/ 23774 h 55016"/>
              <a:gd name="connsiteX21" fmla="*/ 89042 w 193596"/>
              <a:gd name="connsiteY21" fmla="*/ 33909 h 55016"/>
              <a:gd name="connsiteX22" fmla="*/ 67249 w 193596"/>
              <a:gd name="connsiteY22" fmla="*/ 33909 h 55016"/>
              <a:gd name="connsiteX23" fmla="*/ 67249 w 193596"/>
              <a:gd name="connsiteY23" fmla="*/ 54178 h 55016"/>
              <a:gd name="connsiteX24" fmla="*/ 55438 w 193596"/>
              <a:gd name="connsiteY24" fmla="*/ 54178 h 55016"/>
              <a:gd name="connsiteX25" fmla="*/ 0 w 193596"/>
              <a:gd name="connsiteY25" fmla="*/ 838 h 55016"/>
              <a:gd name="connsiteX26" fmla="*/ 21412 w 193596"/>
              <a:gd name="connsiteY26" fmla="*/ 838 h 55016"/>
              <a:gd name="connsiteX27" fmla="*/ 47244 w 193596"/>
              <a:gd name="connsiteY27" fmla="*/ 27356 h 55016"/>
              <a:gd name="connsiteX28" fmla="*/ 21412 w 193596"/>
              <a:gd name="connsiteY28" fmla="*/ 54178 h 55016"/>
              <a:gd name="connsiteX29" fmla="*/ 0 w 193596"/>
              <a:gd name="connsiteY29" fmla="*/ 54178 h 55016"/>
              <a:gd name="connsiteX30" fmla="*/ 172031 w 193596"/>
              <a:gd name="connsiteY30" fmla="*/ 0 h 55016"/>
              <a:gd name="connsiteX31" fmla="*/ 192605 w 193596"/>
              <a:gd name="connsiteY31" fmla="*/ 16459 h 55016"/>
              <a:gd name="connsiteX32" fmla="*/ 180642 w 193596"/>
              <a:gd name="connsiteY32" fmla="*/ 16459 h 55016"/>
              <a:gd name="connsiteX33" fmla="*/ 172031 w 193596"/>
              <a:gd name="connsiteY33" fmla="*/ 9982 h 55016"/>
              <a:gd name="connsiteX34" fmla="*/ 163725 w 193596"/>
              <a:gd name="connsiteY34" fmla="*/ 15545 h 55016"/>
              <a:gd name="connsiteX35" fmla="*/ 170202 w 193596"/>
              <a:gd name="connsiteY35" fmla="*/ 20803 h 55016"/>
              <a:gd name="connsiteX36" fmla="*/ 178127 w 193596"/>
              <a:gd name="connsiteY36" fmla="*/ 22327 h 55016"/>
              <a:gd name="connsiteX37" fmla="*/ 193596 w 193596"/>
              <a:gd name="connsiteY37" fmla="*/ 38176 h 55016"/>
              <a:gd name="connsiteX38" fmla="*/ 172793 w 193596"/>
              <a:gd name="connsiteY38" fmla="*/ 55016 h 55016"/>
              <a:gd name="connsiteX39" fmla="*/ 151000 w 193596"/>
              <a:gd name="connsiteY39" fmla="*/ 37871 h 55016"/>
              <a:gd name="connsiteX40" fmla="*/ 162963 w 193596"/>
              <a:gd name="connsiteY40" fmla="*/ 37871 h 55016"/>
              <a:gd name="connsiteX41" fmla="*/ 172717 w 193596"/>
              <a:gd name="connsiteY41" fmla="*/ 45034 h 55016"/>
              <a:gd name="connsiteX42" fmla="*/ 181632 w 193596"/>
              <a:gd name="connsiteY42" fmla="*/ 38862 h 55016"/>
              <a:gd name="connsiteX43" fmla="*/ 174774 w 193596"/>
              <a:gd name="connsiteY43" fmla="*/ 32918 h 55016"/>
              <a:gd name="connsiteX44" fmla="*/ 167078 w 193596"/>
              <a:gd name="connsiteY44" fmla="*/ 31471 h 55016"/>
              <a:gd name="connsiteX45" fmla="*/ 151686 w 193596"/>
              <a:gd name="connsiteY45" fmla="*/ 16078 h 55016"/>
              <a:gd name="connsiteX46" fmla="*/ 172031 w 193596"/>
              <a:gd name="connsiteY46" fmla="*/ 0 h 55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3596" h="55016">
                <a:moveTo>
                  <a:pt x="109963" y="11125"/>
                </a:moveTo>
                <a:lnTo>
                  <a:pt x="109963" y="43891"/>
                </a:lnTo>
                <a:lnTo>
                  <a:pt x="118345" y="43891"/>
                </a:lnTo>
                <a:cubicBezTo>
                  <a:pt x="126498" y="43891"/>
                  <a:pt x="133356" y="38786"/>
                  <a:pt x="133356" y="27356"/>
                </a:cubicBezTo>
                <a:cubicBezTo>
                  <a:pt x="133356" y="16611"/>
                  <a:pt x="127032" y="11125"/>
                  <a:pt x="118421" y="11125"/>
                </a:cubicBezTo>
                <a:close/>
                <a:moveTo>
                  <a:pt x="11811" y="11125"/>
                </a:moveTo>
                <a:lnTo>
                  <a:pt x="11811" y="43891"/>
                </a:lnTo>
                <a:lnTo>
                  <a:pt x="20193" y="43891"/>
                </a:lnTo>
                <a:cubicBezTo>
                  <a:pt x="28346" y="43891"/>
                  <a:pt x="35204" y="38786"/>
                  <a:pt x="35204" y="27356"/>
                </a:cubicBezTo>
                <a:cubicBezTo>
                  <a:pt x="35204" y="16611"/>
                  <a:pt x="28880" y="11125"/>
                  <a:pt x="20269" y="11125"/>
                </a:cubicBezTo>
                <a:close/>
                <a:moveTo>
                  <a:pt x="98152" y="838"/>
                </a:moveTo>
                <a:lnTo>
                  <a:pt x="119564" y="838"/>
                </a:lnTo>
                <a:cubicBezTo>
                  <a:pt x="135338" y="838"/>
                  <a:pt x="145396" y="11582"/>
                  <a:pt x="145396" y="27356"/>
                </a:cubicBezTo>
                <a:cubicBezTo>
                  <a:pt x="145396" y="43434"/>
                  <a:pt x="135338" y="54178"/>
                  <a:pt x="119564" y="54178"/>
                </a:cubicBezTo>
                <a:lnTo>
                  <a:pt x="98152" y="54178"/>
                </a:lnTo>
                <a:close/>
                <a:moveTo>
                  <a:pt x="55438" y="838"/>
                </a:moveTo>
                <a:lnTo>
                  <a:pt x="89728" y="838"/>
                </a:lnTo>
                <a:lnTo>
                  <a:pt x="89728" y="11049"/>
                </a:lnTo>
                <a:lnTo>
                  <a:pt x="67249" y="11049"/>
                </a:lnTo>
                <a:lnTo>
                  <a:pt x="67249" y="23774"/>
                </a:lnTo>
                <a:lnTo>
                  <a:pt x="89042" y="23774"/>
                </a:lnTo>
                <a:lnTo>
                  <a:pt x="89042" y="33909"/>
                </a:lnTo>
                <a:lnTo>
                  <a:pt x="67249" y="33909"/>
                </a:lnTo>
                <a:lnTo>
                  <a:pt x="67249" y="54178"/>
                </a:lnTo>
                <a:lnTo>
                  <a:pt x="55438" y="54178"/>
                </a:lnTo>
                <a:close/>
                <a:moveTo>
                  <a:pt x="0" y="838"/>
                </a:moveTo>
                <a:lnTo>
                  <a:pt x="21412" y="838"/>
                </a:lnTo>
                <a:cubicBezTo>
                  <a:pt x="37186" y="838"/>
                  <a:pt x="47244" y="11582"/>
                  <a:pt x="47244" y="27356"/>
                </a:cubicBezTo>
                <a:cubicBezTo>
                  <a:pt x="47244" y="43434"/>
                  <a:pt x="37186" y="54178"/>
                  <a:pt x="21412" y="54178"/>
                </a:cubicBezTo>
                <a:lnTo>
                  <a:pt x="0" y="54178"/>
                </a:lnTo>
                <a:close/>
                <a:moveTo>
                  <a:pt x="172031" y="0"/>
                </a:moveTo>
                <a:cubicBezTo>
                  <a:pt x="183614" y="0"/>
                  <a:pt x="191538" y="6629"/>
                  <a:pt x="192605" y="16459"/>
                </a:cubicBezTo>
                <a:lnTo>
                  <a:pt x="180642" y="16459"/>
                </a:lnTo>
                <a:cubicBezTo>
                  <a:pt x="179727" y="12421"/>
                  <a:pt x="177213" y="9982"/>
                  <a:pt x="172031" y="9982"/>
                </a:cubicBezTo>
                <a:cubicBezTo>
                  <a:pt x="167764" y="9982"/>
                  <a:pt x="163725" y="11659"/>
                  <a:pt x="163725" y="15545"/>
                </a:cubicBezTo>
                <a:cubicBezTo>
                  <a:pt x="163725" y="18517"/>
                  <a:pt x="166164" y="19964"/>
                  <a:pt x="170202" y="20803"/>
                </a:cubicBezTo>
                <a:lnTo>
                  <a:pt x="178127" y="22327"/>
                </a:lnTo>
                <a:cubicBezTo>
                  <a:pt x="187805" y="24155"/>
                  <a:pt x="193596" y="29489"/>
                  <a:pt x="193596" y="38176"/>
                </a:cubicBezTo>
                <a:cubicBezTo>
                  <a:pt x="193596" y="49454"/>
                  <a:pt x="183842" y="55016"/>
                  <a:pt x="172793" y="55016"/>
                </a:cubicBezTo>
                <a:cubicBezTo>
                  <a:pt x="159839" y="55016"/>
                  <a:pt x="152219" y="47701"/>
                  <a:pt x="151000" y="37871"/>
                </a:cubicBezTo>
                <a:lnTo>
                  <a:pt x="162963" y="37871"/>
                </a:lnTo>
                <a:cubicBezTo>
                  <a:pt x="163649" y="42367"/>
                  <a:pt x="167383" y="45034"/>
                  <a:pt x="172717" y="45034"/>
                </a:cubicBezTo>
                <a:cubicBezTo>
                  <a:pt x="177365" y="45034"/>
                  <a:pt x="181632" y="43053"/>
                  <a:pt x="181632" y="38862"/>
                </a:cubicBezTo>
                <a:cubicBezTo>
                  <a:pt x="181632" y="35738"/>
                  <a:pt x="179194" y="33757"/>
                  <a:pt x="174774" y="32918"/>
                </a:cubicBezTo>
                <a:lnTo>
                  <a:pt x="167078" y="31471"/>
                </a:lnTo>
                <a:cubicBezTo>
                  <a:pt x="158010" y="29947"/>
                  <a:pt x="151686" y="24841"/>
                  <a:pt x="151686" y="16078"/>
                </a:cubicBezTo>
                <a:cubicBezTo>
                  <a:pt x="151686" y="5105"/>
                  <a:pt x="161820" y="0"/>
                  <a:pt x="172031" y="0"/>
                </a:cubicBezTo>
                <a:close/>
              </a:path>
            </a:pathLst>
          </a:custGeom>
          <a:solidFill>
            <a:srgbClr val="002B45"/>
          </a:solidFill>
          <a:ln w="9525" cap="flat">
            <a:noFill/>
            <a:prstDash val="solid"/>
            <a:miter/>
          </a:ln>
        </p:spPr>
        <p:txBody>
          <a:bodyPr rtlCol="0" anchor="ctr"/>
          <a:lstStyle/>
          <a:p>
            <a:endParaRPr lang="en-GB"/>
          </a:p>
        </p:txBody>
      </p:sp>
    </p:spTree>
    <p:extLst>
      <p:ext uri="{BB962C8B-B14F-4D97-AF65-F5344CB8AC3E}">
        <p14:creationId xmlns:p14="http://schemas.microsoft.com/office/powerpoint/2010/main" val="42867384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one content B">
    <p:spTree>
      <p:nvGrpSpPr>
        <p:cNvPr id="1" name=""/>
        <p:cNvGrpSpPr/>
        <p:nvPr/>
      </p:nvGrpSpPr>
      <p:grpSpPr>
        <a:xfrm>
          <a:off x="0" y="0"/>
          <a:ext cx="0" cy="0"/>
          <a:chOff x="0" y="0"/>
          <a:chExt cx="0" cy="0"/>
        </a:xfrm>
      </p:grpSpPr>
      <p:sp>
        <p:nvSpPr>
          <p:cNvPr id="5" name="Background">
            <a:extLst>
              <a:ext uri="{FF2B5EF4-FFF2-40B4-BE49-F238E27FC236}">
                <a16:creationId xmlns:a16="http://schemas.microsoft.com/office/drawing/2014/main" id="{6BB9D45D-471B-841F-1575-B6E1408A5802}"/>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a:extLst>
              <a:ext uri="{FF2B5EF4-FFF2-40B4-BE49-F238E27FC236}">
                <a16:creationId xmlns:a16="http://schemas.microsoft.com/office/drawing/2014/main" id="{4166AEB5-52F0-4660-8F42-9D54730AF814}"/>
              </a:ext>
            </a:extLst>
          </p:cNvPr>
          <p:cNvSpPr>
            <a:spLocks noGrp="1"/>
          </p:cNvSpPr>
          <p:nvPr>
            <p:ph type="title" hasCustomPrompt="1"/>
          </p:nvPr>
        </p:nvSpPr>
        <p:spPr/>
        <p:txBody>
          <a:bodyPr/>
          <a:lstStyle/>
          <a:p>
            <a:r>
              <a:rPr lang="en-GB"/>
              <a:t>Click to add title</a:t>
            </a:r>
          </a:p>
        </p:txBody>
      </p:sp>
      <p:sp>
        <p:nvSpPr>
          <p:cNvPr id="3" name="Content Placeholder 2"/>
          <p:cNvSpPr>
            <a:spLocks noGrp="1"/>
          </p:cNvSpPr>
          <p:nvPr>
            <p:ph idx="1" hasCustomPrompt="1"/>
          </p:nvPr>
        </p:nvSpPr>
        <p:spPr>
          <a:xfrm>
            <a:off x="269875" y="2100150"/>
            <a:ext cx="11652249" cy="4040300"/>
          </a:xfrm>
        </p:spPr>
        <p:txBody>
          <a:bodyPr/>
          <a:lstStyle>
            <a:lvl1pPr>
              <a:defRPr/>
            </a:lvl1pPr>
            <a:lvl5pPr>
              <a:defRPr/>
            </a:lvl5pPr>
            <a:lvl6pPr>
              <a:defRPr/>
            </a:lvl6pPr>
            <a:lvl7pPr>
              <a:defRPr/>
            </a:lvl7pPr>
            <a:lvl8pPr>
              <a:defRPr/>
            </a:lvl8pPr>
            <a:lvl9pPr>
              <a:defRPr/>
            </a:lvl9pPr>
          </a:lstStyle>
          <a:p>
            <a:pPr lvl="0"/>
            <a:r>
              <a:rPr lang="en-GB" noProof="0"/>
              <a:t>Click to add text                                                                                                                                                                                                           Press ENTER then TAB to view next text style                                                                                                                                                 Press SHIFT+TAB to view previous text style</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 level</a:t>
            </a:r>
          </a:p>
          <a:p>
            <a:pPr lvl="6"/>
            <a:r>
              <a:rPr lang="en-GB" noProof="0"/>
              <a:t>7 level</a:t>
            </a:r>
          </a:p>
          <a:p>
            <a:pPr lvl="7"/>
            <a:r>
              <a:rPr lang="en-GB" noProof="0"/>
              <a:t>8 level</a:t>
            </a:r>
          </a:p>
          <a:p>
            <a:pPr lvl="8"/>
            <a:r>
              <a:rPr lang="en-GB" noProof="0"/>
              <a:t>9 level</a:t>
            </a:r>
          </a:p>
        </p:txBody>
      </p:sp>
      <p:sp>
        <p:nvSpPr>
          <p:cNvPr id="7" name="Date Placeholder 6">
            <a:extLst>
              <a:ext uri="{FF2B5EF4-FFF2-40B4-BE49-F238E27FC236}">
                <a16:creationId xmlns:a16="http://schemas.microsoft.com/office/drawing/2014/main" id="{14D980D4-A6FE-48C4-3FB4-A170F1DD3EFA}"/>
              </a:ext>
            </a:extLst>
          </p:cNvPr>
          <p:cNvSpPr>
            <a:spLocks noGrp="1"/>
          </p:cNvSpPr>
          <p:nvPr>
            <p:ph type="dt" sz="half" idx="10"/>
          </p:nvPr>
        </p:nvSpPr>
        <p:spPr>
          <a:xfrm>
            <a:off x="0" y="6858000"/>
            <a:ext cx="0" cy="0"/>
          </a:xfrm>
          <a:prstGeom prst="rect">
            <a:avLst/>
          </a:prstGeom>
        </p:spPr>
        <p:txBody>
          <a:bodyPr/>
          <a:lstStyle>
            <a:lvl1pPr>
              <a:defRPr sz="100">
                <a:noFill/>
              </a:defRPr>
            </a:lvl1pPr>
          </a:lstStyle>
          <a:p>
            <a:fld id="{347C7782-4F34-460F-AC93-831294F2AA9E}" type="datetime4">
              <a:rPr lang="en-GB" smtClean="0"/>
              <a:t>20 February 2025</a:t>
            </a:fld>
            <a:endParaRPr lang="en-GB"/>
          </a:p>
        </p:txBody>
      </p:sp>
      <p:sp>
        <p:nvSpPr>
          <p:cNvPr id="8" name="Footer Placeholder 7">
            <a:extLst>
              <a:ext uri="{FF2B5EF4-FFF2-40B4-BE49-F238E27FC236}">
                <a16:creationId xmlns:a16="http://schemas.microsoft.com/office/drawing/2014/main" id="{09C9C598-2ADD-7AAD-BC20-214AE14F332E}"/>
              </a:ext>
            </a:extLst>
          </p:cNvPr>
          <p:cNvSpPr>
            <a:spLocks noGrp="1"/>
          </p:cNvSpPr>
          <p:nvPr>
            <p:ph type="ftr" sz="quarter" idx="11"/>
          </p:nvPr>
        </p:nvSpPr>
        <p:spPr/>
        <p:txBody>
          <a:bodyPr tIns="126000"/>
          <a:lstStyle>
            <a:lvl1pPr>
              <a:defRPr sz="800"/>
            </a:lvl1pPr>
          </a:lstStyle>
          <a:p>
            <a:endParaRPr lang="en-GB"/>
          </a:p>
        </p:txBody>
      </p:sp>
      <p:sp>
        <p:nvSpPr>
          <p:cNvPr id="9" name="Slide Number Placeholder 8">
            <a:extLst>
              <a:ext uri="{FF2B5EF4-FFF2-40B4-BE49-F238E27FC236}">
                <a16:creationId xmlns:a16="http://schemas.microsoft.com/office/drawing/2014/main" id="{338DCD92-64F9-6FD5-F0BC-D1B2259B4E48}"/>
              </a:ext>
            </a:extLst>
          </p:cNvPr>
          <p:cNvSpPr>
            <a:spLocks noGrp="1"/>
          </p:cNvSpPr>
          <p:nvPr>
            <p:ph type="sldNum" sz="quarter" idx="12"/>
          </p:nvPr>
        </p:nvSpPr>
        <p:spPr/>
        <p:txBody>
          <a:bodyPr tIns="126000"/>
          <a:lstStyle>
            <a:lvl1pPr>
              <a:defRPr sz="800"/>
            </a:lvl1pPr>
          </a:lstStyle>
          <a:p>
            <a:fld id="{23AA811B-2EBD-4900-905E-5BE206449611}" type="slidenum">
              <a:rPr lang="en-GB" smtClean="0"/>
              <a:pPr/>
              <a:t>‹#›</a:t>
            </a:fld>
            <a:endParaRPr lang="en-GB"/>
          </a:p>
        </p:txBody>
      </p:sp>
      <p:sp>
        <p:nvSpPr>
          <p:cNvPr id="4" name="Subtitle 2">
            <a:extLst>
              <a:ext uri="{FF2B5EF4-FFF2-40B4-BE49-F238E27FC236}">
                <a16:creationId xmlns:a16="http://schemas.microsoft.com/office/drawing/2014/main" id="{58278FEF-F120-E923-4973-DBEFF1F49F91}"/>
              </a:ext>
            </a:extLst>
          </p:cNvPr>
          <p:cNvSpPr>
            <a:spLocks noGrp="1"/>
          </p:cNvSpPr>
          <p:nvPr>
            <p:ph type="subTitle" idx="13" hasCustomPrompt="1"/>
          </p:nvPr>
        </p:nvSpPr>
        <p:spPr>
          <a:xfrm>
            <a:off x="269875" y="1380150"/>
            <a:ext cx="8693150" cy="540000"/>
          </a:xfrm>
        </p:spPr>
        <p:txBody>
          <a:bodyPr/>
          <a:lstStyle>
            <a:lvl1pPr marL="0" indent="0" algn="l">
              <a:spcBef>
                <a:spcPts val="0"/>
              </a:spcBef>
              <a:buFont typeface="DFDS Sans" panose="00000500000000000000" pitchFamily="2" charset="0"/>
              <a:buChar char="​"/>
              <a:defRPr sz="1800"/>
            </a:lvl1pPr>
            <a:lvl2pPr marL="0" indent="0" algn="l">
              <a:spcAft>
                <a:spcPts val="600"/>
              </a:spcAft>
              <a:buFont typeface="DFDS Sans" panose="00000500000000000000" pitchFamily="2" charset="0"/>
              <a:buNone/>
              <a:defRPr sz="1600" b="0"/>
            </a:lvl2pPr>
            <a:lvl3pPr marL="0" indent="0" algn="l">
              <a:spcAft>
                <a:spcPts val="600"/>
              </a:spcAft>
              <a:buFont typeface="DFDS Sans" panose="00000500000000000000" pitchFamily="2" charset="0"/>
              <a:buChar char="​"/>
              <a:defRPr sz="1600" b="0"/>
            </a:lvl3pPr>
            <a:lvl4pPr marL="0" indent="0" algn="l">
              <a:spcAft>
                <a:spcPts val="600"/>
              </a:spcAft>
              <a:buFont typeface="DFDS Sans" panose="00000500000000000000" pitchFamily="2" charset="0"/>
              <a:buChar char="​"/>
              <a:defRPr sz="1600" b="0"/>
            </a:lvl4pPr>
            <a:lvl5pPr marL="0" indent="0" algn="l">
              <a:spcAft>
                <a:spcPts val="600"/>
              </a:spcAft>
              <a:buFont typeface="DFDS Sans" panose="00000500000000000000" pitchFamily="2" charset="0"/>
              <a:buChar char="​"/>
              <a:defRPr sz="1600" b="0"/>
            </a:lvl5pPr>
            <a:lvl6pPr marL="0" indent="0" algn="l">
              <a:spcAft>
                <a:spcPts val="600"/>
              </a:spcAft>
              <a:buFont typeface="DFDS Sans" panose="00000500000000000000" pitchFamily="2" charset="0"/>
              <a:buChar char="​"/>
              <a:defRPr sz="1600" b="0"/>
            </a:lvl6pPr>
            <a:lvl7pPr marL="0" indent="0" algn="l">
              <a:spcAft>
                <a:spcPts val="600"/>
              </a:spcAft>
              <a:buFont typeface="DFDS Sans" panose="00000500000000000000" pitchFamily="2" charset="0"/>
              <a:buChar char="​"/>
              <a:defRPr sz="1600" b="0"/>
            </a:lvl7pPr>
            <a:lvl8pPr marL="0" indent="0" algn="l">
              <a:spcAft>
                <a:spcPts val="600"/>
              </a:spcAft>
              <a:buFont typeface="DFDS Sans" panose="00000500000000000000" pitchFamily="2" charset="0"/>
              <a:buChar char="​"/>
              <a:defRPr sz="1600" b="0"/>
            </a:lvl8pPr>
            <a:lvl9pPr marL="0" indent="0" algn="l">
              <a:spcAft>
                <a:spcPts val="600"/>
              </a:spcAft>
              <a:buFont typeface="DFDS Sans" panose="00000500000000000000" pitchFamily="2" charset="0"/>
              <a:buChar char="​"/>
              <a:defRPr sz="1600" b="0"/>
            </a:lvl9pPr>
          </a:lstStyle>
          <a:p>
            <a:r>
              <a:rPr lang="en-GB"/>
              <a:t>Click to add up to 2 lines of subtitle</a:t>
            </a:r>
          </a:p>
        </p:txBody>
      </p:sp>
      <p:sp>
        <p:nvSpPr>
          <p:cNvPr id="6" name="Footer logo">
            <a:extLst>
              <a:ext uri="{FF2B5EF4-FFF2-40B4-BE49-F238E27FC236}">
                <a16:creationId xmlns:a16="http://schemas.microsoft.com/office/drawing/2014/main" id="{C4179CEE-AF25-B659-A784-C5E36434F68B}"/>
              </a:ext>
            </a:extLst>
          </p:cNvPr>
          <p:cNvSpPr>
            <a:spLocks noChangeAspect="1"/>
          </p:cNvSpPr>
          <p:nvPr userDrawn="1"/>
        </p:nvSpPr>
        <p:spPr>
          <a:xfrm>
            <a:off x="11634124" y="6504694"/>
            <a:ext cx="288000" cy="81844"/>
          </a:xfrm>
          <a:custGeom>
            <a:avLst/>
            <a:gdLst>
              <a:gd name="connsiteX0" fmla="*/ 109963 w 193596"/>
              <a:gd name="connsiteY0" fmla="*/ 11125 h 55016"/>
              <a:gd name="connsiteX1" fmla="*/ 109963 w 193596"/>
              <a:gd name="connsiteY1" fmla="*/ 43891 h 55016"/>
              <a:gd name="connsiteX2" fmla="*/ 118345 w 193596"/>
              <a:gd name="connsiteY2" fmla="*/ 43891 h 55016"/>
              <a:gd name="connsiteX3" fmla="*/ 133356 w 193596"/>
              <a:gd name="connsiteY3" fmla="*/ 27356 h 55016"/>
              <a:gd name="connsiteX4" fmla="*/ 118421 w 193596"/>
              <a:gd name="connsiteY4" fmla="*/ 11125 h 55016"/>
              <a:gd name="connsiteX5" fmla="*/ 11811 w 193596"/>
              <a:gd name="connsiteY5" fmla="*/ 11125 h 55016"/>
              <a:gd name="connsiteX6" fmla="*/ 11811 w 193596"/>
              <a:gd name="connsiteY6" fmla="*/ 43891 h 55016"/>
              <a:gd name="connsiteX7" fmla="*/ 20193 w 193596"/>
              <a:gd name="connsiteY7" fmla="*/ 43891 h 55016"/>
              <a:gd name="connsiteX8" fmla="*/ 35204 w 193596"/>
              <a:gd name="connsiteY8" fmla="*/ 27356 h 55016"/>
              <a:gd name="connsiteX9" fmla="*/ 20269 w 193596"/>
              <a:gd name="connsiteY9" fmla="*/ 11125 h 55016"/>
              <a:gd name="connsiteX10" fmla="*/ 98152 w 193596"/>
              <a:gd name="connsiteY10" fmla="*/ 838 h 55016"/>
              <a:gd name="connsiteX11" fmla="*/ 119564 w 193596"/>
              <a:gd name="connsiteY11" fmla="*/ 838 h 55016"/>
              <a:gd name="connsiteX12" fmla="*/ 145396 w 193596"/>
              <a:gd name="connsiteY12" fmla="*/ 27356 h 55016"/>
              <a:gd name="connsiteX13" fmla="*/ 119564 w 193596"/>
              <a:gd name="connsiteY13" fmla="*/ 54178 h 55016"/>
              <a:gd name="connsiteX14" fmla="*/ 98152 w 193596"/>
              <a:gd name="connsiteY14" fmla="*/ 54178 h 55016"/>
              <a:gd name="connsiteX15" fmla="*/ 55438 w 193596"/>
              <a:gd name="connsiteY15" fmla="*/ 838 h 55016"/>
              <a:gd name="connsiteX16" fmla="*/ 89728 w 193596"/>
              <a:gd name="connsiteY16" fmla="*/ 838 h 55016"/>
              <a:gd name="connsiteX17" fmla="*/ 89728 w 193596"/>
              <a:gd name="connsiteY17" fmla="*/ 11049 h 55016"/>
              <a:gd name="connsiteX18" fmla="*/ 67249 w 193596"/>
              <a:gd name="connsiteY18" fmla="*/ 11049 h 55016"/>
              <a:gd name="connsiteX19" fmla="*/ 67249 w 193596"/>
              <a:gd name="connsiteY19" fmla="*/ 23774 h 55016"/>
              <a:gd name="connsiteX20" fmla="*/ 89042 w 193596"/>
              <a:gd name="connsiteY20" fmla="*/ 23774 h 55016"/>
              <a:gd name="connsiteX21" fmla="*/ 89042 w 193596"/>
              <a:gd name="connsiteY21" fmla="*/ 33909 h 55016"/>
              <a:gd name="connsiteX22" fmla="*/ 67249 w 193596"/>
              <a:gd name="connsiteY22" fmla="*/ 33909 h 55016"/>
              <a:gd name="connsiteX23" fmla="*/ 67249 w 193596"/>
              <a:gd name="connsiteY23" fmla="*/ 54178 h 55016"/>
              <a:gd name="connsiteX24" fmla="*/ 55438 w 193596"/>
              <a:gd name="connsiteY24" fmla="*/ 54178 h 55016"/>
              <a:gd name="connsiteX25" fmla="*/ 0 w 193596"/>
              <a:gd name="connsiteY25" fmla="*/ 838 h 55016"/>
              <a:gd name="connsiteX26" fmla="*/ 21412 w 193596"/>
              <a:gd name="connsiteY26" fmla="*/ 838 h 55016"/>
              <a:gd name="connsiteX27" fmla="*/ 47244 w 193596"/>
              <a:gd name="connsiteY27" fmla="*/ 27356 h 55016"/>
              <a:gd name="connsiteX28" fmla="*/ 21412 w 193596"/>
              <a:gd name="connsiteY28" fmla="*/ 54178 h 55016"/>
              <a:gd name="connsiteX29" fmla="*/ 0 w 193596"/>
              <a:gd name="connsiteY29" fmla="*/ 54178 h 55016"/>
              <a:gd name="connsiteX30" fmla="*/ 172031 w 193596"/>
              <a:gd name="connsiteY30" fmla="*/ 0 h 55016"/>
              <a:gd name="connsiteX31" fmla="*/ 192605 w 193596"/>
              <a:gd name="connsiteY31" fmla="*/ 16459 h 55016"/>
              <a:gd name="connsiteX32" fmla="*/ 180642 w 193596"/>
              <a:gd name="connsiteY32" fmla="*/ 16459 h 55016"/>
              <a:gd name="connsiteX33" fmla="*/ 172031 w 193596"/>
              <a:gd name="connsiteY33" fmla="*/ 9982 h 55016"/>
              <a:gd name="connsiteX34" fmla="*/ 163725 w 193596"/>
              <a:gd name="connsiteY34" fmla="*/ 15545 h 55016"/>
              <a:gd name="connsiteX35" fmla="*/ 170202 w 193596"/>
              <a:gd name="connsiteY35" fmla="*/ 20803 h 55016"/>
              <a:gd name="connsiteX36" fmla="*/ 178127 w 193596"/>
              <a:gd name="connsiteY36" fmla="*/ 22327 h 55016"/>
              <a:gd name="connsiteX37" fmla="*/ 193596 w 193596"/>
              <a:gd name="connsiteY37" fmla="*/ 38176 h 55016"/>
              <a:gd name="connsiteX38" fmla="*/ 172793 w 193596"/>
              <a:gd name="connsiteY38" fmla="*/ 55016 h 55016"/>
              <a:gd name="connsiteX39" fmla="*/ 151000 w 193596"/>
              <a:gd name="connsiteY39" fmla="*/ 37871 h 55016"/>
              <a:gd name="connsiteX40" fmla="*/ 162963 w 193596"/>
              <a:gd name="connsiteY40" fmla="*/ 37871 h 55016"/>
              <a:gd name="connsiteX41" fmla="*/ 172717 w 193596"/>
              <a:gd name="connsiteY41" fmla="*/ 45034 h 55016"/>
              <a:gd name="connsiteX42" fmla="*/ 181632 w 193596"/>
              <a:gd name="connsiteY42" fmla="*/ 38862 h 55016"/>
              <a:gd name="connsiteX43" fmla="*/ 174774 w 193596"/>
              <a:gd name="connsiteY43" fmla="*/ 32918 h 55016"/>
              <a:gd name="connsiteX44" fmla="*/ 167078 w 193596"/>
              <a:gd name="connsiteY44" fmla="*/ 31471 h 55016"/>
              <a:gd name="connsiteX45" fmla="*/ 151686 w 193596"/>
              <a:gd name="connsiteY45" fmla="*/ 16078 h 55016"/>
              <a:gd name="connsiteX46" fmla="*/ 172031 w 193596"/>
              <a:gd name="connsiteY46" fmla="*/ 0 h 55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3596" h="55016">
                <a:moveTo>
                  <a:pt x="109963" y="11125"/>
                </a:moveTo>
                <a:lnTo>
                  <a:pt x="109963" y="43891"/>
                </a:lnTo>
                <a:lnTo>
                  <a:pt x="118345" y="43891"/>
                </a:lnTo>
                <a:cubicBezTo>
                  <a:pt x="126498" y="43891"/>
                  <a:pt x="133356" y="38786"/>
                  <a:pt x="133356" y="27356"/>
                </a:cubicBezTo>
                <a:cubicBezTo>
                  <a:pt x="133356" y="16611"/>
                  <a:pt x="127032" y="11125"/>
                  <a:pt x="118421" y="11125"/>
                </a:cubicBezTo>
                <a:close/>
                <a:moveTo>
                  <a:pt x="11811" y="11125"/>
                </a:moveTo>
                <a:lnTo>
                  <a:pt x="11811" y="43891"/>
                </a:lnTo>
                <a:lnTo>
                  <a:pt x="20193" y="43891"/>
                </a:lnTo>
                <a:cubicBezTo>
                  <a:pt x="28346" y="43891"/>
                  <a:pt x="35204" y="38786"/>
                  <a:pt x="35204" y="27356"/>
                </a:cubicBezTo>
                <a:cubicBezTo>
                  <a:pt x="35204" y="16611"/>
                  <a:pt x="28880" y="11125"/>
                  <a:pt x="20269" y="11125"/>
                </a:cubicBezTo>
                <a:close/>
                <a:moveTo>
                  <a:pt x="98152" y="838"/>
                </a:moveTo>
                <a:lnTo>
                  <a:pt x="119564" y="838"/>
                </a:lnTo>
                <a:cubicBezTo>
                  <a:pt x="135338" y="838"/>
                  <a:pt x="145396" y="11582"/>
                  <a:pt x="145396" y="27356"/>
                </a:cubicBezTo>
                <a:cubicBezTo>
                  <a:pt x="145396" y="43434"/>
                  <a:pt x="135338" y="54178"/>
                  <a:pt x="119564" y="54178"/>
                </a:cubicBezTo>
                <a:lnTo>
                  <a:pt x="98152" y="54178"/>
                </a:lnTo>
                <a:close/>
                <a:moveTo>
                  <a:pt x="55438" y="838"/>
                </a:moveTo>
                <a:lnTo>
                  <a:pt x="89728" y="838"/>
                </a:lnTo>
                <a:lnTo>
                  <a:pt x="89728" y="11049"/>
                </a:lnTo>
                <a:lnTo>
                  <a:pt x="67249" y="11049"/>
                </a:lnTo>
                <a:lnTo>
                  <a:pt x="67249" y="23774"/>
                </a:lnTo>
                <a:lnTo>
                  <a:pt x="89042" y="23774"/>
                </a:lnTo>
                <a:lnTo>
                  <a:pt x="89042" y="33909"/>
                </a:lnTo>
                <a:lnTo>
                  <a:pt x="67249" y="33909"/>
                </a:lnTo>
                <a:lnTo>
                  <a:pt x="67249" y="54178"/>
                </a:lnTo>
                <a:lnTo>
                  <a:pt x="55438" y="54178"/>
                </a:lnTo>
                <a:close/>
                <a:moveTo>
                  <a:pt x="0" y="838"/>
                </a:moveTo>
                <a:lnTo>
                  <a:pt x="21412" y="838"/>
                </a:lnTo>
                <a:cubicBezTo>
                  <a:pt x="37186" y="838"/>
                  <a:pt x="47244" y="11582"/>
                  <a:pt x="47244" y="27356"/>
                </a:cubicBezTo>
                <a:cubicBezTo>
                  <a:pt x="47244" y="43434"/>
                  <a:pt x="37186" y="54178"/>
                  <a:pt x="21412" y="54178"/>
                </a:cubicBezTo>
                <a:lnTo>
                  <a:pt x="0" y="54178"/>
                </a:lnTo>
                <a:close/>
                <a:moveTo>
                  <a:pt x="172031" y="0"/>
                </a:moveTo>
                <a:cubicBezTo>
                  <a:pt x="183614" y="0"/>
                  <a:pt x="191538" y="6629"/>
                  <a:pt x="192605" y="16459"/>
                </a:cubicBezTo>
                <a:lnTo>
                  <a:pt x="180642" y="16459"/>
                </a:lnTo>
                <a:cubicBezTo>
                  <a:pt x="179727" y="12421"/>
                  <a:pt x="177213" y="9982"/>
                  <a:pt x="172031" y="9982"/>
                </a:cubicBezTo>
                <a:cubicBezTo>
                  <a:pt x="167764" y="9982"/>
                  <a:pt x="163725" y="11659"/>
                  <a:pt x="163725" y="15545"/>
                </a:cubicBezTo>
                <a:cubicBezTo>
                  <a:pt x="163725" y="18517"/>
                  <a:pt x="166164" y="19964"/>
                  <a:pt x="170202" y="20803"/>
                </a:cubicBezTo>
                <a:lnTo>
                  <a:pt x="178127" y="22327"/>
                </a:lnTo>
                <a:cubicBezTo>
                  <a:pt x="187805" y="24155"/>
                  <a:pt x="193596" y="29489"/>
                  <a:pt x="193596" y="38176"/>
                </a:cubicBezTo>
                <a:cubicBezTo>
                  <a:pt x="193596" y="49454"/>
                  <a:pt x="183842" y="55016"/>
                  <a:pt x="172793" y="55016"/>
                </a:cubicBezTo>
                <a:cubicBezTo>
                  <a:pt x="159839" y="55016"/>
                  <a:pt x="152219" y="47701"/>
                  <a:pt x="151000" y="37871"/>
                </a:cubicBezTo>
                <a:lnTo>
                  <a:pt x="162963" y="37871"/>
                </a:lnTo>
                <a:cubicBezTo>
                  <a:pt x="163649" y="42367"/>
                  <a:pt x="167383" y="45034"/>
                  <a:pt x="172717" y="45034"/>
                </a:cubicBezTo>
                <a:cubicBezTo>
                  <a:pt x="177365" y="45034"/>
                  <a:pt x="181632" y="43053"/>
                  <a:pt x="181632" y="38862"/>
                </a:cubicBezTo>
                <a:cubicBezTo>
                  <a:pt x="181632" y="35738"/>
                  <a:pt x="179194" y="33757"/>
                  <a:pt x="174774" y="32918"/>
                </a:cubicBezTo>
                <a:lnTo>
                  <a:pt x="167078" y="31471"/>
                </a:lnTo>
                <a:cubicBezTo>
                  <a:pt x="158010" y="29947"/>
                  <a:pt x="151686" y="24841"/>
                  <a:pt x="151686" y="16078"/>
                </a:cubicBezTo>
                <a:cubicBezTo>
                  <a:pt x="151686" y="5105"/>
                  <a:pt x="161820" y="0"/>
                  <a:pt x="172031" y="0"/>
                </a:cubicBezTo>
                <a:close/>
              </a:path>
            </a:pathLst>
          </a:custGeom>
          <a:solidFill>
            <a:srgbClr val="002B45"/>
          </a:solidFill>
          <a:ln w="9525" cap="flat">
            <a:noFill/>
            <a:prstDash val="solid"/>
            <a:miter/>
          </a:ln>
        </p:spPr>
        <p:txBody>
          <a:bodyPr rtlCol="0" anchor="ctr"/>
          <a:lstStyle/>
          <a:p>
            <a:endParaRPr lang="en-GB"/>
          </a:p>
        </p:txBody>
      </p:sp>
    </p:spTree>
    <p:extLst>
      <p:ext uri="{BB962C8B-B14F-4D97-AF65-F5344CB8AC3E}">
        <p14:creationId xmlns:p14="http://schemas.microsoft.com/office/powerpoint/2010/main" val="273101111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two content">
    <p:spTree>
      <p:nvGrpSpPr>
        <p:cNvPr id="1" name=""/>
        <p:cNvGrpSpPr/>
        <p:nvPr/>
      </p:nvGrpSpPr>
      <p:grpSpPr>
        <a:xfrm>
          <a:off x="0" y="0"/>
          <a:ext cx="0" cy="0"/>
          <a:chOff x="0" y="0"/>
          <a:chExt cx="0" cy="0"/>
        </a:xfrm>
      </p:grpSpPr>
      <p:sp>
        <p:nvSpPr>
          <p:cNvPr id="5" name="Background">
            <a:extLst>
              <a:ext uri="{FF2B5EF4-FFF2-40B4-BE49-F238E27FC236}">
                <a16:creationId xmlns:a16="http://schemas.microsoft.com/office/drawing/2014/main" id="{FAC9FCCC-EA3B-C3C9-DED3-19D065188A13}"/>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a:extLst>
              <a:ext uri="{FF2B5EF4-FFF2-40B4-BE49-F238E27FC236}">
                <a16:creationId xmlns:a16="http://schemas.microsoft.com/office/drawing/2014/main" id="{D947CF41-4700-4C0D-801F-1B8DD72EDF93}"/>
              </a:ext>
            </a:extLst>
          </p:cNvPr>
          <p:cNvSpPr>
            <a:spLocks noGrp="1"/>
          </p:cNvSpPr>
          <p:nvPr>
            <p:ph type="title" hasCustomPrompt="1"/>
          </p:nvPr>
        </p:nvSpPr>
        <p:spPr/>
        <p:txBody>
          <a:bodyPr/>
          <a:lstStyle/>
          <a:p>
            <a:r>
              <a:rPr lang="en-GB"/>
              <a:t>Click to add title</a:t>
            </a:r>
          </a:p>
        </p:txBody>
      </p:sp>
      <p:sp>
        <p:nvSpPr>
          <p:cNvPr id="3" name="Content Placeholder 2"/>
          <p:cNvSpPr>
            <a:spLocks noGrp="1"/>
          </p:cNvSpPr>
          <p:nvPr>
            <p:ph idx="1" hasCustomPrompt="1"/>
          </p:nvPr>
        </p:nvSpPr>
        <p:spPr>
          <a:xfrm>
            <a:off x="269876" y="2107416"/>
            <a:ext cx="5735638" cy="4033034"/>
          </a:xfrm>
        </p:spPr>
        <p:txBody>
          <a:bodyPr/>
          <a:lstStyle>
            <a:lvl1pPr>
              <a:defRPr/>
            </a:lvl1pPr>
            <a:lvl5pPr>
              <a:defRPr/>
            </a:lvl5pPr>
          </a:lstStyle>
          <a:p>
            <a:pPr lvl="0"/>
            <a:r>
              <a:rPr lang="en-GB" noProof="0"/>
              <a:t>Click to add text                                                                           Press ENTER then TAB to view next text style                   Press SHIFT+TAB to view previous text style</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 level</a:t>
            </a:r>
          </a:p>
          <a:p>
            <a:pPr lvl="6"/>
            <a:r>
              <a:rPr lang="en-GB" noProof="0"/>
              <a:t>7 level</a:t>
            </a:r>
          </a:p>
          <a:p>
            <a:pPr lvl="7"/>
            <a:r>
              <a:rPr lang="en-GB" noProof="0"/>
              <a:t>8 level</a:t>
            </a:r>
          </a:p>
          <a:p>
            <a:pPr lvl="8"/>
            <a:r>
              <a:rPr lang="en-GB" noProof="0"/>
              <a:t>9 level</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186000" y="2107416"/>
            <a:ext cx="5735638" cy="4033034"/>
          </a:xfrm>
        </p:spPr>
        <p:txBody>
          <a:bodyPr/>
          <a:lstStyle>
            <a:lvl1pPr>
              <a:defRPr/>
            </a:lvl1pPr>
            <a:lvl5pPr>
              <a:defRPr/>
            </a:lvl5pPr>
          </a:lstStyle>
          <a:p>
            <a:pPr lvl="0"/>
            <a:r>
              <a:rPr lang="en-GB" noProof="0"/>
              <a:t>Click to add text                                                                           Press ENTER then TAB to view next text style                  Press SHIFT+TAB to view previous text style</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 level</a:t>
            </a:r>
          </a:p>
          <a:p>
            <a:pPr lvl="6"/>
            <a:r>
              <a:rPr lang="en-GB" noProof="0"/>
              <a:t>7 level</a:t>
            </a:r>
          </a:p>
          <a:p>
            <a:pPr lvl="7"/>
            <a:r>
              <a:rPr lang="en-GB" noProof="0"/>
              <a:t>8 level</a:t>
            </a:r>
          </a:p>
          <a:p>
            <a:pPr lvl="8"/>
            <a:r>
              <a:rPr lang="en-GB" noProof="0"/>
              <a:t>9 level</a:t>
            </a:r>
          </a:p>
        </p:txBody>
      </p:sp>
      <p:sp>
        <p:nvSpPr>
          <p:cNvPr id="8" name="Date Placeholder 7">
            <a:extLst>
              <a:ext uri="{FF2B5EF4-FFF2-40B4-BE49-F238E27FC236}">
                <a16:creationId xmlns:a16="http://schemas.microsoft.com/office/drawing/2014/main" id="{6B49660F-B2FB-4041-2653-C61DAA5A1720}"/>
              </a:ext>
            </a:extLst>
          </p:cNvPr>
          <p:cNvSpPr>
            <a:spLocks noGrp="1"/>
          </p:cNvSpPr>
          <p:nvPr>
            <p:ph type="dt" sz="half" idx="10"/>
          </p:nvPr>
        </p:nvSpPr>
        <p:spPr>
          <a:xfrm>
            <a:off x="0" y="6858000"/>
            <a:ext cx="0" cy="0"/>
          </a:xfrm>
          <a:prstGeom prst="rect">
            <a:avLst/>
          </a:prstGeom>
        </p:spPr>
        <p:txBody>
          <a:bodyPr/>
          <a:lstStyle>
            <a:lvl1pPr>
              <a:defRPr sz="100">
                <a:noFill/>
              </a:defRPr>
            </a:lvl1pPr>
          </a:lstStyle>
          <a:p>
            <a:fld id="{60C1E327-0449-4A24-9EDF-F5A96E3C1003}" type="datetime4">
              <a:rPr lang="en-GB" smtClean="0"/>
              <a:t>20 February 2025</a:t>
            </a:fld>
            <a:endParaRPr lang="en-GB"/>
          </a:p>
        </p:txBody>
      </p:sp>
      <p:sp>
        <p:nvSpPr>
          <p:cNvPr id="9" name="Footer Placeholder 8">
            <a:extLst>
              <a:ext uri="{FF2B5EF4-FFF2-40B4-BE49-F238E27FC236}">
                <a16:creationId xmlns:a16="http://schemas.microsoft.com/office/drawing/2014/main" id="{BD8EA3FD-C1FD-6A92-B851-3CA9A5AC7C33}"/>
              </a:ext>
            </a:extLst>
          </p:cNvPr>
          <p:cNvSpPr>
            <a:spLocks noGrp="1"/>
          </p:cNvSpPr>
          <p:nvPr>
            <p:ph type="ftr" sz="quarter" idx="11"/>
          </p:nvPr>
        </p:nvSpPr>
        <p:spPr/>
        <p:txBody>
          <a:bodyPr/>
          <a:lstStyle/>
          <a:p>
            <a:endParaRPr lang="en-GB"/>
          </a:p>
        </p:txBody>
      </p:sp>
      <p:sp>
        <p:nvSpPr>
          <p:cNvPr id="10" name="Slide Number Placeholder 9">
            <a:extLst>
              <a:ext uri="{FF2B5EF4-FFF2-40B4-BE49-F238E27FC236}">
                <a16:creationId xmlns:a16="http://schemas.microsoft.com/office/drawing/2014/main" id="{438DC114-746C-3747-B023-3D61439FC1B6}"/>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Subtitle 2">
            <a:extLst>
              <a:ext uri="{FF2B5EF4-FFF2-40B4-BE49-F238E27FC236}">
                <a16:creationId xmlns:a16="http://schemas.microsoft.com/office/drawing/2014/main" id="{02258C78-B0F8-87AE-695D-45B983CC33F3}"/>
              </a:ext>
            </a:extLst>
          </p:cNvPr>
          <p:cNvSpPr>
            <a:spLocks noGrp="1"/>
          </p:cNvSpPr>
          <p:nvPr>
            <p:ph type="subTitle" idx="13" hasCustomPrompt="1"/>
          </p:nvPr>
        </p:nvSpPr>
        <p:spPr>
          <a:xfrm>
            <a:off x="269875" y="1383783"/>
            <a:ext cx="8693150" cy="540000"/>
          </a:xfrm>
        </p:spPr>
        <p:txBody>
          <a:bodyPr/>
          <a:lstStyle>
            <a:lvl1pPr marL="0" indent="0" algn="l">
              <a:spcBef>
                <a:spcPts val="0"/>
              </a:spcBef>
              <a:buFont typeface="DFDS Sans" panose="00000500000000000000" pitchFamily="2" charset="0"/>
              <a:buChar char="​"/>
              <a:defRPr sz="1800"/>
            </a:lvl1pPr>
            <a:lvl2pPr marL="0" indent="0" algn="l">
              <a:spcAft>
                <a:spcPts val="600"/>
              </a:spcAft>
              <a:buFont typeface="DFDS Sans" panose="00000500000000000000" pitchFamily="2" charset="0"/>
              <a:buNone/>
              <a:defRPr sz="1600" b="0"/>
            </a:lvl2pPr>
            <a:lvl3pPr marL="0" indent="0" algn="l">
              <a:spcAft>
                <a:spcPts val="600"/>
              </a:spcAft>
              <a:buFont typeface="DFDS Sans" panose="00000500000000000000" pitchFamily="2" charset="0"/>
              <a:buChar char="​"/>
              <a:defRPr sz="1600" b="0"/>
            </a:lvl3pPr>
            <a:lvl4pPr marL="0" indent="0" algn="l">
              <a:spcAft>
                <a:spcPts val="600"/>
              </a:spcAft>
              <a:buFont typeface="DFDS Sans" panose="00000500000000000000" pitchFamily="2" charset="0"/>
              <a:buChar char="​"/>
              <a:defRPr sz="1600" b="0"/>
            </a:lvl4pPr>
            <a:lvl5pPr marL="0" indent="0" algn="l">
              <a:spcAft>
                <a:spcPts val="600"/>
              </a:spcAft>
              <a:buFont typeface="DFDS Sans" panose="00000500000000000000" pitchFamily="2" charset="0"/>
              <a:buChar char="​"/>
              <a:defRPr sz="1600" b="0"/>
            </a:lvl5pPr>
            <a:lvl6pPr marL="0" indent="0" algn="l">
              <a:spcAft>
                <a:spcPts val="600"/>
              </a:spcAft>
              <a:buFont typeface="DFDS Sans" panose="00000500000000000000" pitchFamily="2" charset="0"/>
              <a:buChar char="​"/>
              <a:defRPr sz="1600" b="0"/>
            </a:lvl6pPr>
            <a:lvl7pPr marL="0" indent="0" algn="l">
              <a:spcAft>
                <a:spcPts val="600"/>
              </a:spcAft>
              <a:buFont typeface="DFDS Sans" panose="00000500000000000000" pitchFamily="2" charset="0"/>
              <a:buChar char="​"/>
              <a:defRPr sz="1600" b="0"/>
            </a:lvl7pPr>
            <a:lvl8pPr marL="0" indent="0" algn="l">
              <a:spcAft>
                <a:spcPts val="600"/>
              </a:spcAft>
              <a:buFont typeface="DFDS Sans" panose="00000500000000000000" pitchFamily="2" charset="0"/>
              <a:buChar char="​"/>
              <a:defRPr sz="1600" b="0"/>
            </a:lvl8pPr>
            <a:lvl9pPr marL="0" indent="0" algn="l">
              <a:spcAft>
                <a:spcPts val="600"/>
              </a:spcAft>
              <a:buFont typeface="DFDS Sans" panose="00000500000000000000" pitchFamily="2" charset="0"/>
              <a:buChar char="​"/>
              <a:defRPr sz="1600" b="0"/>
            </a:lvl9pPr>
          </a:lstStyle>
          <a:p>
            <a:r>
              <a:rPr lang="en-GB"/>
              <a:t>Click to add up to 2 lines of subtitle</a:t>
            </a:r>
          </a:p>
        </p:txBody>
      </p:sp>
      <p:sp>
        <p:nvSpPr>
          <p:cNvPr id="6" name="Footer logo">
            <a:extLst>
              <a:ext uri="{FF2B5EF4-FFF2-40B4-BE49-F238E27FC236}">
                <a16:creationId xmlns:a16="http://schemas.microsoft.com/office/drawing/2014/main" id="{B32655D4-B92D-820D-6986-FB6E5FB2D64B}"/>
              </a:ext>
            </a:extLst>
          </p:cNvPr>
          <p:cNvSpPr>
            <a:spLocks noChangeAspect="1"/>
          </p:cNvSpPr>
          <p:nvPr userDrawn="1"/>
        </p:nvSpPr>
        <p:spPr>
          <a:xfrm>
            <a:off x="11634124" y="6504694"/>
            <a:ext cx="288000" cy="81844"/>
          </a:xfrm>
          <a:custGeom>
            <a:avLst/>
            <a:gdLst>
              <a:gd name="connsiteX0" fmla="*/ 109963 w 193596"/>
              <a:gd name="connsiteY0" fmla="*/ 11125 h 55016"/>
              <a:gd name="connsiteX1" fmla="*/ 109963 w 193596"/>
              <a:gd name="connsiteY1" fmla="*/ 43891 h 55016"/>
              <a:gd name="connsiteX2" fmla="*/ 118345 w 193596"/>
              <a:gd name="connsiteY2" fmla="*/ 43891 h 55016"/>
              <a:gd name="connsiteX3" fmla="*/ 133356 w 193596"/>
              <a:gd name="connsiteY3" fmla="*/ 27356 h 55016"/>
              <a:gd name="connsiteX4" fmla="*/ 118421 w 193596"/>
              <a:gd name="connsiteY4" fmla="*/ 11125 h 55016"/>
              <a:gd name="connsiteX5" fmla="*/ 11811 w 193596"/>
              <a:gd name="connsiteY5" fmla="*/ 11125 h 55016"/>
              <a:gd name="connsiteX6" fmla="*/ 11811 w 193596"/>
              <a:gd name="connsiteY6" fmla="*/ 43891 h 55016"/>
              <a:gd name="connsiteX7" fmla="*/ 20193 w 193596"/>
              <a:gd name="connsiteY7" fmla="*/ 43891 h 55016"/>
              <a:gd name="connsiteX8" fmla="*/ 35204 w 193596"/>
              <a:gd name="connsiteY8" fmla="*/ 27356 h 55016"/>
              <a:gd name="connsiteX9" fmla="*/ 20269 w 193596"/>
              <a:gd name="connsiteY9" fmla="*/ 11125 h 55016"/>
              <a:gd name="connsiteX10" fmla="*/ 98152 w 193596"/>
              <a:gd name="connsiteY10" fmla="*/ 838 h 55016"/>
              <a:gd name="connsiteX11" fmla="*/ 119564 w 193596"/>
              <a:gd name="connsiteY11" fmla="*/ 838 h 55016"/>
              <a:gd name="connsiteX12" fmla="*/ 145396 w 193596"/>
              <a:gd name="connsiteY12" fmla="*/ 27356 h 55016"/>
              <a:gd name="connsiteX13" fmla="*/ 119564 w 193596"/>
              <a:gd name="connsiteY13" fmla="*/ 54178 h 55016"/>
              <a:gd name="connsiteX14" fmla="*/ 98152 w 193596"/>
              <a:gd name="connsiteY14" fmla="*/ 54178 h 55016"/>
              <a:gd name="connsiteX15" fmla="*/ 55438 w 193596"/>
              <a:gd name="connsiteY15" fmla="*/ 838 h 55016"/>
              <a:gd name="connsiteX16" fmla="*/ 89728 w 193596"/>
              <a:gd name="connsiteY16" fmla="*/ 838 h 55016"/>
              <a:gd name="connsiteX17" fmla="*/ 89728 w 193596"/>
              <a:gd name="connsiteY17" fmla="*/ 11049 h 55016"/>
              <a:gd name="connsiteX18" fmla="*/ 67249 w 193596"/>
              <a:gd name="connsiteY18" fmla="*/ 11049 h 55016"/>
              <a:gd name="connsiteX19" fmla="*/ 67249 w 193596"/>
              <a:gd name="connsiteY19" fmla="*/ 23774 h 55016"/>
              <a:gd name="connsiteX20" fmla="*/ 89042 w 193596"/>
              <a:gd name="connsiteY20" fmla="*/ 23774 h 55016"/>
              <a:gd name="connsiteX21" fmla="*/ 89042 w 193596"/>
              <a:gd name="connsiteY21" fmla="*/ 33909 h 55016"/>
              <a:gd name="connsiteX22" fmla="*/ 67249 w 193596"/>
              <a:gd name="connsiteY22" fmla="*/ 33909 h 55016"/>
              <a:gd name="connsiteX23" fmla="*/ 67249 w 193596"/>
              <a:gd name="connsiteY23" fmla="*/ 54178 h 55016"/>
              <a:gd name="connsiteX24" fmla="*/ 55438 w 193596"/>
              <a:gd name="connsiteY24" fmla="*/ 54178 h 55016"/>
              <a:gd name="connsiteX25" fmla="*/ 0 w 193596"/>
              <a:gd name="connsiteY25" fmla="*/ 838 h 55016"/>
              <a:gd name="connsiteX26" fmla="*/ 21412 w 193596"/>
              <a:gd name="connsiteY26" fmla="*/ 838 h 55016"/>
              <a:gd name="connsiteX27" fmla="*/ 47244 w 193596"/>
              <a:gd name="connsiteY27" fmla="*/ 27356 h 55016"/>
              <a:gd name="connsiteX28" fmla="*/ 21412 w 193596"/>
              <a:gd name="connsiteY28" fmla="*/ 54178 h 55016"/>
              <a:gd name="connsiteX29" fmla="*/ 0 w 193596"/>
              <a:gd name="connsiteY29" fmla="*/ 54178 h 55016"/>
              <a:gd name="connsiteX30" fmla="*/ 172031 w 193596"/>
              <a:gd name="connsiteY30" fmla="*/ 0 h 55016"/>
              <a:gd name="connsiteX31" fmla="*/ 192605 w 193596"/>
              <a:gd name="connsiteY31" fmla="*/ 16459 h 55016"/>
              <a:gd name="connsiteX32" fmla="*/ 180642 w 193596"/>
              <a:gd name="connsiteY32" fmla="*/ 16459 h 55016"/>
              <a:gd name="connsiteX33" fmla="*/ 172031 w 193596"/>
              <a:gd name="connsiteY33" fmla="*/ 9982 h 55016"/>
              <a:gd name="connsiteX34" fmla="*/ 163725 w 193596"/>
              <a:gd name="connsiteY34" fmla="*/ 15545 h 55016"/>
              <a:gd name="connsiteX35" fmla="*/ 170202 w 193596"/>
              <a:gd name="connsiteY35" fmla="*/ 20803 h 55016"/>
              <a:gd name="connsiteX36" fmla="*/ 178127 w 193596"/>
              <a:gd name="connsiteY36" fmla="*/ 22327 h 55016"/>
              <a:gd name="connsiteX37" fmla="*/ 193596 w 193596"/>
              <a:gd name="connsiteY37" fmla="*/ 38176 h 55016"/>
              <a:gd name="connsiteX38" fmla="*/ 172793 w 193596"/>
              <a:gd name="connsiteY38" fmla="*/ 55016 h 55016"/>
              <a:gd name="connsiteX39" fmla="*/ 151000 w 193596"/>
              <a:gd name="connsiteY39" fmla="*/ 37871 h 55016"/>
              <a:gd name="connsiteX40" fmla="*/ 162963 w 193596"/>
              <a:gd name="connsiteY40" fmla="*/ 37871 h 55016"/>
              <a:gd name="connsiteX41" fmla="*/ 172717 w 193596"/>
              <a:gd name="connsiteY41" fmla="*/ 45034 h 55016"/>
              <a:gd name="connsiteX42" fmla="*/ 181632 w 193596"/>
              <a:gd name="connsiteY42" fmla="*/ 38862 h 55016"/>
              <a:gd name="connsiteX43" fmla="*/ 174774 w 193596"/>
              <a:gd name="connsiteY43" fmla="*/ 32918 h 55016"/>
              <a:gd name="connsiteX44" fmla="*/ 167078 w 193596"/>
              <a:gd name="connsiteY44" fmla="*/ 31471 h 55016"/>
              <a:gd name="connsiteX45" fmla="*/ 151686 w 193596"/>
              <a:gd name="connsiteY45" fmla="*/ 16078 h 55016"/>
              <a:gd name="connsiteX46" fmla="*/ 172031 w 193596"/>
              <a:gd name="connsiteY46" fmla="*/ 0 h 55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3596" h="55016">
                <a:moveTo>
                  <a:pt x="109963" y="11125"/>
                </a:moveTo>
                <a:lnTo>
                  <a:pt x="109963" y="43891"/>
                </a:lnTo>
                <a:lnTo>
                  <a:pt x="118345" y="43891"/>
                </a:lnTo>
                <a:cubicBezTo>
                  <a:pt x="126498" y="43891"/>
                  <a:pt x="133356" y="38786"/>
                  <a:pt x="133356" y="27356"/>
                </a:cubicBezTo>
                <a:cubicBezTo>
                  <a:pt x="133356" y="16611"/>
                  <a:pt x="127032" y="11125"/>
                  <a:pt x="118421" y="11125"/>
                </a:cubicBezTo>
                <a:close/>
                <a:moveTo>
                  <a:pt x="11811" y="11125"/>
                </a:moveTo>
                <a:lnTo>
                  <a:pt x="11811" y="43891"/>
                </a:lnTo>
                <a:lnTo>
                  <a:pt x="20193" y="43891"/>
                </a:lnTo>
                <a:cubicBezTo>
                  <a:pt x="28346" y="43891"/>
                  <a:pt x="35204" y="38786"/>
                  <a:pt x="35204" y="27356"/>
                </a:cubicBezTo>
                <a:cubicBezTo>
                  <a:pt x="35204" y="16611"/>
                  <a:pt x="28880" y="11125"/>
                  <a:pt x="20269" y="11125"/>
                </a:cubicBezTo>
                <a:close/>
                <a:moveTo>
                  <a:pt x="98152" y="838"/>
                </a:moveTo>
                <a:lnTo>
                  <a:pt x="119564" y="838"/>
                </a:lnTo>
                <a:cubicBezTo>
                  <a:pt x="135338" y="838"/>
                  <a:pt x="145396" y="11582"/>
                  <a:pt x="145396" y="27356"/>
                </a:cubicBezTo>
                <a:cubicBezTo>
                  <a:pt x="145396" y="43434"/>
                  <a:pt x="135338" y="54178"/>
                  <a:pt x="119564" y="54178"/>
                </a:cubicBezTo>
                <a:lnTo>
                  <a:pt x="98152" y="54178"/>
                </a:lnTo>
                <a:close/>
                <a:moveTo>
                  <a:pt x="55438" y="838"/>
                </a:moveTo>
                <a:lnTo>
                  <a:pt x="89728" y="838"/>
                </a:lnTo>
                <a:lnTo>
                  <a:pt x="89728" y="11049"/>
                </a:lnTo>
                <a:lnTo>
                  <a:pt x="67249" y="11049"/>
                </a:lnTo>
                <a:lnTo>
                  <a:pt x="67249" y="23774"/>
                </a:lnTo>
                <a:lnTo>
                  <a:pt x="89042" y="23774"/>
                </a:lnTo>
                <a:lnTo>
                  <a:pt x="89042" y="33909"/>
                </a:lnTo>
                <a:lnTo>
                  <a:pt x="67249" y="33909"/>
                </a:lnTo>
                <a:lnTo>
                  <a:pt x="67249" y="54178"/>
                </a:lnTo>
                <a:lnTo>
                  <a:pt x="55438" y="54178"/>
                </a:lnTo>
                <a:close/>
                <a:moveTo>
                  <a:pt x="0" y="838"/>
                </a:moveTo>
                <a:lnTo>
                  <a:pt x="21412" y="838"/>
                </a:lnTo>
                <a:cubicBezTo>
                  <a:pt x="37186" y="838"/>
                  <a:pt x="47244" y="11582"/>
                  <a:pt x="47244" y="27356"/>
                </a:cubicBezTo>
                <a:cubicBezTo>
                  <a:pt x="47244" y="43434"/>
                  <a:pt x="37186" y="54178"/>
                  <a:pt x="21412" y="54178"/>
                </a:cubicBezTo>
                <a:lnTo>
                  <a:pt x="0" y="54178"/>
                </a:lnTo>
                <a:close/>
                <a:moveTo>
                  <a:pt x="172031" y="0"/>
                </a:moveTo>
                <a:cubicBezTo>
                  <a:pt x="183614" y="0"/>
                  <a:pt x="191538" y="6629"/>
                  <a:pt x="192605" y="16459"/>
                </a:cubicBezTo>
                <a:lnTo>
                  <a:pt x="180642" y="16459"/>
                </a:lnTo>
                <a:cubicBezTo>
                  <a:pt x="179727" y="12421"/>
                  <a:pt x="177213" y="9982"/>
                  <a:pt x="172031" y="9982"/>
                </a:cubicBezTo>
                <a:cubicBezTo>
                  <a:pt x="167764" y="9982"/>
                  <a:pt x="163725" y="11659"/>
                  <a:pt x="163725" y="15545"/>
                </a:cubicBezTo>
                <a:cubicBezTo>
                  <a:pt x="163725" y="18517"/>
                  <a:pt x="166164" y="19964"/>
                  <a:pt x="170202" y="20803"/>
                </a:cubicBezTo>
                <a:lnTo>
                  <a:pt x="178127" y="22327"/>
                </a:lnTo>
                <a:cubicBezTo>
                  <a:pt x="187805" y="24155"/>
                  <a:pt x="193596" y="29489"/>
                  <a:pt x="193596" y="38176"/>
                </a:cubicBezTo>
                <a:cubicBezTo>
                  <a:pt x="193596" y="49454"/>
                  <a:pt x="183842" y="55016"/>
                  <a:pt x="172793" y="55016"/>
                </a:cubicBezTo>
                <a:cubicBezTo>
                  <a:pt x="159839" y="55016"/>
                  <a:pt x="152219" y="47701"/>
                  <a:pt x="151000" y="37871"/>
                </a:cubicBezTo>
                <a:lnTo>
                  <a:pt x="162963" y="37871"/>
                </a:lnTo>
                <a:cubicBezTo>
                  <a:pt x="163649" y="42367"/>
                  <a:pt x="167383" y="45034"/>
                  <a:pt x="172717" y="45034"/>
                </a:cubicBezTo>
                <a:cubicBezTo>
                  <a:pt x="177365" y="45034"/>
                  <a:pt x="181632" y="43053"/>
                  <a:pt x="181632" y="38862"/>
                </a:cubicBezTo>
                <a:cubicBezTo>
                  <a:pt x="181632" y="35738"/>
                  <a:pt x="179194" y="33757"/>
                  <a:pt x="174774" y="32918"/>
                </a:cubicBezTo>
                <a:lnTo>
                  <a:pt x="167078" y="31471"/>
                </a:lnTo>
                <a:cubicBezTo>
                  <a:pt x="158010" y="29947"/>
                  <a:pt x="151686" y="24841"/>
                  <a:pt x="151686" y="16078"/>
                </a:cubicBezTo>
                <a:cubicBezTo>
                  <a:pt x="151686" y="5105"/>
                  <a:pt x="161820" y="0"/>
                  <a:pt x="172031" y="0"/>
                </a:cubicBezTo>
                <a:close/>
              </a:path>
            </a:pathLst>
          </a:custGeom>
          <a:solidFill>
            <a:srgbClr val="002B45"/>
          </a:solidFill>
          <a:ln w="9525" cap="flat">
            <a:noFill/>
            <a:prstDash val="solid"/>
            <a:miter/>
          </a:ln>
        </p:spPr>
        <p:txBody>
          <a:bodyPr rtlCol="0" anchor="ctr"/>
          <a:lstStyle/>
          <a:p>
            <a:endParaRPr lang="en-GB"/>
          </a:p>
        </p:txBody>
      </p:sp>
    </p:spTree>
    <p:extLst>
      <p:ext uri="{BB962C8B-B14F-4D97-AF65-F5344CB8AC3E}">
        <p14:creationId xmlns:p14="http://schemas.microsoft.com/office/powerpoint/2010/main" val="1370926861"/>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three content">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4EA73C0D-18AE-62BE-13C2-A4152474F2BD}"/>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a:extLst>
              <a:ext uri="{FF2B5EF4-FFF2-40B4-BE49-F238E27FC236}">
                <a16:creationId xmlns:a16="http://schemas.microsoft.com/office/drawing/2014/main" id="{4166AEB5-52F0-4660-8F42-9D54730AF814}"/>
              </a:ext>
            </a:extLst>
          </p:cNvPr>
          <p:cNvSpPr>
            <a:spLocks noGrp="1"/>
          </p:cNvSpPr>
          <p:nvPr>
            <p:ph type="title" hasCustomPrompt="1"/>
          </p:nvPr>
        </p:nvSpPr>
        <p:spPr/>
        <p:txBody>
          <a:bodyPr/>
          <a:lstStyle/>
          <a:p>
            <a:r>
              <a:rPr lang="en-GB"/>
              <a:t>Click to add title</a:t>
            </a:r>
          </a:p>
        </p:txBody>
      </p:sp>
      <p:sp>
        <p:nvSpPr>
          <p:cNvPr id="3" name="Content Placeholder 2"/>
          <p:cNvSpPr>
            <a:spLocks noGrp="1"/>
          </p:cNvSpPr>
          <p:nvPr>
            <p:ph idx="1" hasCustomPrompt="1"/>
          </p:nvPr>
        </p:nvSpPr>
        <p:spPr>
          <a:xfrm>
            <a:off x="269875" y="3058030"/>
            <a:ext cx="3763963" cy="3082420"/>
          </a:xfrm>
        </p:spPr>
        <p:txBody>
          <a:bodyPr/>
          <a:lstStyle>
            <a:lvl1pPr>
              <a:defRPr/>
            </a:lvl1pPr>
            <a:lvl5pPr>
              <a:defRPr/>
            </a:lvl5pPr>
          </a:lstStyle>
          <a:p>
            <a:pPr lvl="0"/>
            <a:r>
              <a:rPr lang="en-GB" noProof="0"/>
              <a:t>Click to add text                                Press ENTER then TAB to view next text style                                               Press SHIFT+TAB to view previous text style</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 level</a:t>
            </a:r>
          </a:p>
          <a:p>
            <a:pPr lvl="6"/>
            <a:r>
              <a:rPr lang="en-GB" noProof="0"/>
              <a:t>7 level</a:t>
            </a:r>
          </a:p>
          <a:p>
            <a:pPr lvl="7"/>
            <a:r>
              <a:rPr lang="en-GB" noProof="0"/>
              <a:t>8 level</a:t>
            </a:r>
          </a:p>
          <a:p>
            <a:pPr lvl="8"/>
            <a:r>
              <a:rPr lang="en-GB" noProof="0"/>
              <a:t>9 level</a:t>
            </a:r>
          </a:p>
        </p:txBody>
      </p:sp>
      <p:sp>
        <p:nvSpPr>
          <p:cNvPr id="10" name="Content Placeholder 3">
            <a:extLst>
              <a:ext uri="{FF2B5EF4-FFF2-40B4-BE49-F238E27FC236}">
                <a16:creationId xmlns:a16="http://schemas.microsoft.com/office/drawing/2014/main" id="{ED1EC185-5B12-41DF-8263-14BD8E01E254}"/>
              </a:ext>
            </a:extLst>
          </p:cNvPr>
          <p:cNvSpPr>
            <a:spLocks noGrp="1"/>
          </p:cNvSpPr>
          <p:nvPr>
            <p:ph sz="half" idx="2" hasCustomPrompt="1"/>
          </p:nvPr>
        </p:nvSpPr>
        <p:spPr>
          <a:xfrm>
            <a:off x="4213225" y="3058030"/>
            <a:ext cx="3763963" cy="3082420"/>
          </a:xfrm>
        </p:spPr>
        <p:txBody>
          <a:bodyPr/>
          <a:lstStyle>
            <a:lvl1pPr>
              <a:defRPr/>
            </a:lvl1pPr>
            <a:lvl5pPr>
              <a:defRPr/>
            </a:lvl5pPr>
          </a:lstStyle>
          <a:p>
            <a:pPr lvl="0"/>
            <a:r>
              <a:rPr lang="en-GB" noProof="0"/>
              <a:t>Click to add text                                    Press ENTER then TAB to view next text style                                                 Press SHIFT+TAB to view previous text style</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 level</a:t>
            </a:r>
          </a:p>
          <a:p>
            <a:pPr lvl="6"/>
            <a:r>
              <a:rPr lang="en-GB" noProof="0"/>
              <a:t>7 level</a:t>
            </a:r>
          </a:p>
          <a:p>
            <a:pPr lvl="7"/>
            <a:r>
              <a:rPr lang="en-GB" noProof="0"/>
              <a:t>8 level</a:t>
            </a:r>
          </a:p>
          <a:p>
            <a:pPr lvl="8"/>
            <a:r>
              <a:rPr lang="en-GB" noProof="0"/>
              <a:t>9 level</a:t>
            </a:r>
          </a:p>
        </p:txBody>
      </p:sp>
      <p:sp>
        <p:nvSpPr>
          <p:cNvPr id="11" name="Content Placeholder 4">
            <a:extLst>
              <a:ext uri="{FF2B5EF4-FFF2-40B4-BE49-F238E27FC236}">
                <a16:creationId xmlns:a16="http://schemas.microsoft.com/office/drawing/2014/main" id="{B51A870A-B49A-41AB-A520-9F693B2A477E}"/>
              </a:ext>
            </a:extLst>
          </p:cNvPr>
          <p:cNvSpPr>
            <a:spLocks noGrp="1"/>
          </p:cNvSpPr>
          <p:nvPr>
            <p:ph sz="half" idx="13" hasCustomPrompt="1"/>
          </p:nvPr>
        </p:nvSpPr>
        <p:spPr>
          <a:xfrm>
            <a:off x="8158164" y="3058030"/>
            <a:ext cx="3762374" cy="3082420"/>
          </a:xfrm>
        </p:spPr>
        <p:txBody>
          <a:bodyPr/>
          <a:lstStyle>
            <a:lvl1pPr>
              <a:defRPr/>
            </a:lvl1pPr>
            <a:lvl5pPr>
              <a:defRPr/>
            </a:lvl5pPr>
          </a:lstStyle>
          <a:p>
            <a:pPr lvl="0"/>
            <a:r>
              <a:rPr lang="en-GB" noProof="0"/>
              <a:t>Click to add text                                Press ENTER then TAB to view next text style                                               Press SHIFT+TAB to view previous text style</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 level</a:t>
            </a:r>
          </a:p>
          <a:p>
            <a:pPr lvl="6"/>
            <a:r>
              <a:rPr lang="en-GB" noProof="0"/>
              <a:t>7 level</a:t>
            </a:r>
          </a:p>
          <a:p>
            <a:pPr lvl="7"/>
            <a:r>
              <a:rPr lang="en-GB" noProof="0"/>
              <a:t>8 level</a:t>
            </a:r>
          </a:p>
          <a:p>
            <a:pPr lvl="8"/>
            <a:r>
              <a:rPr lang="en-GB" noProof="0"/>
              <a:t>9 level</a:t>
            </a:r>
          </a:p>
        </p:txBody>
      </p:sp>
      <p:sp>
        <p:nvSpPr>
          <p:cNvPr id="4" name="Date Placeholder 3">
            <a:extLst>
              <a:ext uri="{FF2B5EF4-FFF2-40B4-BE49-F238E27FC236}">
                <a16:creationId xmlns:a16="http://schemas.microsoft.com/office/drawing/2014/main" id="{10E92CEF-2F21-286F-98A9-58851EAF502D}"/>
              </a:ext>
            </a:extLst>
          </p:cNvPr>
          <p:cNvSpPr>
            <a:spLocks noGrp="1"/>
          </p:cNvSpPr>
          <p:nvPr>
            <p:ph type="dt" sz="half" idx="14"/>
          </p:nvPr>
        </p:nvSpPr>
        <p:spPr>
          <a:xfrm>
            <a:off x="0" y="6858000"/>
            <a:ext cx="0" cy="0"/>
          </a:xfrm>
          <a:prstGeom prst="rect">
            <a:avLst/>
          </a:prstGeom>
        </p:spPr>
        <p:txBody>
          <a:bodyPr/>
          <a:lstStyle>
            <a:lvl1pPr>
              <a:defRPr sz="100">
                <a:noFill/>
              </a:defRPr>
            </a:lvl1pPr>
          </a:lstStyle>
          <a:p>
            <a:fld id="{D3AD70B7-3CA5-42A5-8D03-EF6AC38B9E7A}" type="datetime4">
              <a:rPr lang="en-GB" smtClean="0"/>
              <a:t>20 February 2025</a:t>
            </a:fld>
            <a:endParaRPr lang="en-GB"/>
          </a:p>
        </p:txBody>
      </p:sp>
      <p:sp>
        <p:nvSpPr>
          <p:cNvPr id="5" name="Footer Placeholder 4">
            <a:extLst>
              <a:ext uri="{FF2B5EF4-FFF2-40B4-BE49-F238E27FC236}">
                <a16:creationId xmlns:a16="http://schemas.microsoft.com/office/drawing/2014/main" id="{FC0EA4AD-EF7C-E6BC-A6D9-2A2959EA36FD}"/>
              </a:ext>
            </a:extLst>
          </p:cNvPr>
          <p:cNvSpPr>
            <a:spLocks noGrp="1"/>
          </p:cNvSpPr>
          <p:nvPr>
            <p:ph type="ftr" sz="quarter" idx="15"/>
          </p:nvPr>
        </p:nvSpPr>
        <p:spPr/>
        <p:txBody>
          <a:bodyPr/>
          <a:lstStyle/>
          <a:p>
            <a:endParaRPr lang="en-GB"/>
          </a:p>
        </p:txBody>
      </p:sp>
      <p:sp>
        <p:nvSpPr>
          <p:cNvPr id="6" name="Slide Number Placeholder 5">
            <a:extLst>
              <a:ext uri="{FF2B5EF4-FFF2-40B4-BE49-F238E27FC236}">
                <a16:creationId xmlns:a16="http://schemas.microsoft.com/office/drawing/2014/main" id="{2C19564B-96D9-829D-6452-26141B924649}"/>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7" name="Subtitle 2">
            <a:extLst>
              <a:ext uri="{FF2B5EF4-FFF2-40B4-BE49-F238E27FC236}">
                <a16:creationId xmlns:a16="http://schemas.microsoft.com/office/drawing/2014/main" id="{DA76CF56-9304-3A0C-08C2-29F48A06191A}"/>
              </a:ext>
            </a:extLst>
          </p:cNvPr>
          <p:cNvSpPr>
            <a:spLocks noGrp="1"/>
          </p:cNvSpPr>
          <p:nvPr>
            <p:ph type="subTitle" idx="17" hasCustomPrompt="1"/>
          </p:nvPr>
        </p:nvSpPr>
        <p:spPr>
          <a:xfrm>
            <a:off x="269875" y="1380151"/>
            <a:ext cx="8693150" cy="540000"/>
          </a:xfrm>
        </p:spPr>
        <p:txBody>
          <a:bodyPr/>
          <a:lstStyle>
            <a:lvl1pPr marL="0" indent="0" algn="l">
              <a:spcBef>
                <a:spcPts val="0"/>
              </a:spcBef>
              <a:buFont typeface="DFDS Sans" panose="00000500000000000000" pitchFamily="2" charset="0"/>
              <a:buChar char="​"/>
              <a:defRPr sz="1800"/>
            </a:lvl1pPr>
            <a:lvl2pPr marL="0" indent="0" algn="l">
              <a:spcAft>
                <a:spcPts val="600"/>
              </a:spcAft>
              <a:buFont typeface="DFDS Sans" panose="00000500000000000000" pitchFamily="2" charset="0"/>
              <a:buNone/>
              <a:defRPr sz="1600" b="0"/>
            </a:lvl2pPr>
            <a:lvl3pPr marL="0" indent="0" algn="l">
              <a:spcAft>
                <a:spcPts val="600"/>
              </a:spcAft>
              <a:buFont typeface="DFDS Sans" panose="00000500000000000000" pitchFamily="2" charset="0"/>
              <a:buChar char="​"/>
              <a:defRPr sz="1600" b="0"/>
            </a:lvl3pPr>
            <a:lvl4pPr marL="0" indent="0" algn="l">
              <a:spcAft>
                <a:spcPts val="600"/>
              </a:spcAft>
              <a:buFont typeface="DFDS Sans" panose="00000500000000000000" pitchFamily="2" charset="0"/>
              <a:buChar char="​"/>
              <a:defRPr sz="1600" b="0"/>
            </a:lvl4pPr>
            <a:lvl5pPr marL="0" indent="0" algn="l">
              <a:spcAft>
                <a:spcPts val="600"/>
              </a:spcAft>
              <a:buFont typeface="DFDS Sans" panose="00000500000000000000" pitchFamily="2" charset="0"/>
              <a:buChar char="​"/>
              <a:defRPr sz="1600" b="0"/>
            </a:lvl5pPr>
            <a:lvl6pPr marL="0" indent="0" algn="l">
              <a:spcAft>
                <a:spcPts val="600"/>
              </a:spcAft>
              <a:buFont typeface="DFDS Sans" panose="00000500000000000000" pitchFamily="2" charset="0"/>
              <a:buChar char="​"/>
              <a:defRPr sz="1600" b="0"/>
            </a:lvl6pPr>
            <a:lvl7pPr marL="0" indent="0" algn="l">
              <a:spcAft>
                <a:spcPts val="600"/>
              </a:spcAft>
              <a:buFont typeface="DFDS Sans" panose="00000500000000000000" pitchFamily="2" charset="0"/>
              <a:buChar char="​"/>
              <a:defRPr sz="1600" b="0"/>
            </a:lvl7pPr>
            <a:lvl8pPr marL="0" indent="0" algn="l">
              <a:spcAft>
                <a:spcPts val="600"/>
              </a:spcAft>
              <a:buFont typeface="DFDS Sans" panose="00000500000000000000" pitchFamily="2" charset="0"/>
              <a:buChar char="​"/>
              <a:defRPr sz="1600" b="0"/>
            </a:lvl8pPr>
            <a:lvl9pPr marL="0" indent="0" algn="l">
              <a:spcAft>
                <a:spcPts val="600"/>
              </a:spcAft>
              <a:buFont typeface="DFDS Sans" panose="00000500000000000000" pitchFamily="2" charset="0"/>
              <a:buChar char="​"/>
              <a:defRPr sz="1600" b="0"/>
            </a:lvl9pPr>
          </a:lstStyle>
          <a:p>
            <a:r>
              <a:rPr lang="en-GB"/>
              <a:t>Click to add up to 2 lines of subtitle</a:t>
            </a:r>
          </a:p>
        </p:txBody>
      </p:sp>
      <p:sp>
        <p:nvSpPr>
          <p:cNvPr id="14" name="Content Placeholder 13">
            <a:extLst>
              <a:ext uri="{FF2B5EF4-FFF2-40B4-BE49-F238E27FC236}">
                <a16:creationId xmlns:a16="http://schemas.microsoft.com/office/drawing/2014/main" id="{D1F4A33D-5EBA-E9D3-70A5-1244CFF01AEE}"/>
              </a:ext>
            </a:extLst>
          </p:cNvPr>
          <p:cNvSpPr>
            <a:spLocks noGrp="1"/>
          </p:cNvSpPr>
          <p:nvPr>
            <p:ph sz="quarter" idx="18" hasCustomPrompt="1"/>
          </p:nvPr>
        </p:nvSpPr>
        <p:spPr>
          <a:xfrm>
            <a:off x="269875" y="2100153"/>
            <a:ext cx="3763963" cy="777875"/>
          </a:xfrm>
        </p:spPr>
        <p:txBody>
          <a:bodyPr lIns="0" tIns="0" rIns="0" bIns="0"/>
          <a:lstStyle>
            <a:lvl1pPr marL="0" indent="0">
              <a:buFont typeface="DFDS Sans" panose="00000500000000000000" pitchFamily="2" charset="0"/>
              <a:buNone/>
              <a:defRPr sz="1400"/>
            </a:lvl1pPr>
          </a:lstStyle>
          <a:p>
            <a:pPr lvl="0"/>
            <a:r>
              <a:rPr lang="en-GB"/>
              <a:t>Click on </a:t>
            </a:r>
            <a:br>
              <a:rPr lang="en-GB"/>
            </a:br>
            <a:r>
              <a:rPr lang="en-GB"/>
              <a:t>Pictures icon</a:t>
            </a:r>
            <a:br>
              <a:rPr lang="en-GB"/>
            </a:br>
            <a:r>
              <a:rPr lang="en-GB"/>
              <a:t>to insert icon</a:t>
            </a:r>
          </a:p>
        </p:txBody>
      </p:sp>
      <p:sp>
        <p:nvSpPr>
          <p:cNvPr id="15" name="Content Placeholder 13">
            <a:extLst>
              <a:ext uri="{FF2B5EF4-FFF2-40B4-BE49-F238E27FC236}">
                <a16:creationId xmlns:a16="http://schemas.microsoft.com/office/drawing/2014/main" id="{8089C1FC-2A9A-6A7C-AB06-1E071CD8B63F}"/>
              </a:ext>
            </a:extLst>
          </p:cNvPr>
          <p:cNvSpPr>
            <a:spLocks noGrp="1"/>
          </p:cNvSpPr>
          <p:nvPr>
            <p:ph sz="quarter" idx="19" hasCustomPrompt="1"/>
          </p:nvPr>
        </p:nvSpPr>
        <p:spPr>
          <a:xfrm>
            <a:off x="4213225" y="2100152"/>
            <a:ext cx="3763963" cy="777875"/>
          </a:xfrm>
        </p:spPr>
        <p:txBody>
          <a:bodyPr lIns="0" tIns="0" rIns="0" bIns="0"/>
          <a:lstStyle>
            <a:lvl1pPr marL="0" indent="0">
              <a:buFont typeface="DFDS Sans" panose="00000500000000000000" pitchFamily="2" charset="0"/>
              <a:buNone/>
              <a:defRPr sz="1400"/>
            </a:lvl1pPr>
          </a:lstStyle>
          <a:p>
            <a:pPr lvl="0"/>
            <a:r>
              <a:rPr lang="en-GB"/>
              <a:t>Click on </a:t>
            </a:r>
            <a:br>
              <a:rPr lang="en-GB"/>
            </a:br>
            <a:r>
              <a:rPr lang="en-GB"/>
              <a:t>Pictures icon</a:t>
            </a:r>
            <a:br>
              <a:rPr lang="en-GB"/>
            </a:br>
            <a:r>
              <a:rPr lang="en-GB"/>
              <a:t>to insert icon</a:t>
            </a:r>
          </a:p>
        </p:txBody>
      </p:sp>
      <p:sp>
        <p:nvSpPr>
          <p:cNvPr id="16" name="Content Placeholder 13">
            <a:extLst>
              <a:ext uri="{FF2B5EF4-FFF2-40B4-BE49-F238E27FC236}">
                <a16:creationId xmlns:a16="http://schemas.microsoft.com/office/drawing/2014/main" id="{1A7C98E0-A58E-AB4B-1F67-39D529F397E6}"/>
              </a:ext>
            </a:extLst>
          </p:cNvPr>
          <p:cNvSpPr>
            <a:spLocks noGrp="1"/>
          </p:cNvSpPr>
          <p:nvPr>
            <p:ph sz="quarter" idx="20" hasCustomPrompt="1"/>
          </p:nvPr>
        </p:nvSpPr>
        <p:spPr>
          <a:xfrm>
            <a:off x="8156575" y="2101740"/>
            <a:ext cx="3763963" cy="777875"/>
          </a:xfrm>
        </p:spPr>
        <p:txBody>
          <a:bodyPr lIns="0" tIns="0" rIns="0" bIns="0"/>
          <a:lstStyle>
            <a:lvl1pPr marL="0" indent="0">
              <a:buFont typeface="DFDS Sans" panose="00000500000000000000" pitchFamily="2" charset="0"/>
              <a:buNone/>
              <a:defRPr sz="1400"/>
            </a:lvl1pPr>
          </a:lstStyle>
          <a:p>
            <a:pPr lvl="0"/>
            <a:r>
              <a:rPr lang="en-GB"/>
              <a:t>Click on </a:t>
            </a:r>
            <a:br>
              <a:rPr lang="en-GB"/>
            </a:br>
            <a:r>
              <a:rPr lang="en-GB"/>
              <a:t>Pictures icon</a:t>
            </a:r>
            <a:br>
              <a:rPr lang="en-GB"/>
            </a:br>
            <a:r>
              <a:rPr lang="en-GB"/>
              <a:t>to insert icon</a:t>
            </a:r>
          </a:p>
        </p:txBody>
      </p:sp>
      <p:sp>
        <p:nvSpPr>
          <p:cNvPr id="9" name="Footer logo">
            <a:extLst>
              <a:ext uri="{FF2B5EF4-FFF2-40B4-BE49-F238E27FC236}">
                <a16:creationId xmlns:a16="http://schemas.microsoft.com/office/drawing/2014/main" id="{F0F72479-43FF-863F-21D0-45CB07FDD591}"/>
              </a:ext>
            </a:extLst>
          </p:cNvPr>
          <p:cNvSpPr>
            <a:spLocks noChangeAspect="1"/>
          </p:cNvSpPr>
          <p:nvPr userDrawn="1"/>
        </p:nvSpPr>
        <p:spPr>
          <a:xfrm>
            <a:off x="11634124" y="6504694"/>
            <a:ext cx="288000" cy="81844"/>
          </a:xfrm>
          <a:custGeom>
            <a:avLst/>
            <a:gdLst>
              <a:gd name="connsiteX0" fmla="*/ 109963 w 193596"/>
              <a:gd name="connsiteY0" fmla="*/ 11125 h 55016"/>
              <a:gd name="connsiteX1" fmla="*/ 109963 w 193596"/>
              <a:gd name="connsiteY1" fmla="*/ 43891 h 55016"/>
              <a:gd name="connsiteX2" fmla="*/ 118345 w 193596"/>
              <a:gd name="connsiteY2" fmla="*/ 43891 h 55016"/>
              <a:gd name="connsiteX3" fmla="*/ 133356 w 193596"/>
              <a:gd name="connsiteY3" fmla="*/ 27356 h 55016"/>
              <a:gd name="connsiteX4" fmla="*/ 118421 w 193596"/>
              <a:gd name="connsiteY4" fmla="*/ 11125 h 55016"/>
              <a:gd name="connsiteX5" fmla="*/ 11811 w 193596"/>
              <a:gd name="connsiteY5" fmla="*/ 11125 h 55016"/>
              <a:gd name="connsiteX6" fmla="*/ 11811 w 193596"/>
              <a:gd name="connsiteY6" fmla="*/ 43891 h 55016"/>
              <a:gd name="connsiteX7" fmla="*/ 20193 w 193596"/>
              <a:gd name="connsiteY7" fmla="*/ 43891 h 55016"/>
              <a:gd name="connsiteX8" fmla="*/ 35204 w 193596"/>
              <a:gd name="connsiteY8" fmla="*/ 27356 h 55016"/>
              <a:gd name="connsiteX9" fmla="*/ 20269 w 193596"/>
              <a:gd name="connsiteY9" fmla="*/ 11125 h 55016"/>
              <a:gd name="connsiteX10" fmla="*/ 98152 w 193596"/>
              <a:gd name="connsiteY10" fmla="*/ 838 h 55016"/>
              <a:gd name="connsiteX11" fmla="*/ 119564 w 193596"/>
              <a:gd name="connsiteY11" fmla="*/ 838 h 55016"/>
              <a:gd name="connsiteX12" fmla="*/ 145396 w 193596"/>
              <a:gd name="connsiteY12" fmla="*/ 27356 h 55016"/>
              <a:gd name="connsiteX13" fmla="*/ 119564 w 193596"/>
              <a:gd name="connsiteY13" fmla="*/ 54178 h 55016"/>
              <a:gd name="connsiteX14" fmla="*/ 98152 w 193596"/>
              <a:gd name="connsiteY14" fmla="*/ 54178 h 55016"/>
              <a:gd name="connsiteX15" fmla="*/ 55438 w 193596"/>
              <a:gd name="connsiteY15" fmla="*/ 838 h 55016"/>
              <a:gd name="connsiteX16" fmla="*/ 89728 w 193596"/>
              <a:gd name="connsiteY16" fmla="*/ 838 h 55016"/>
              <a:gd name="connsiteX17" fmla="*/ 89728 w 193596"/>
              <a:gd name="connsiteY17" fmla="*/ 11049 h 55016"/>
              <a:gd name="connsiteX18" fmla="*/ 67249 w 193596"/>
              <a:gd name="connsiteY18" fmla="*/ 11049 h 55016"/>
              <a:gd name="connsiteX19" fmla="*/ 67249 w 193596"/>
              <a:gd name="connsiteY19" fmla="*/ 23774 h 55016"/>
              <a:gd name="connsiteX20" fmla="*/ 89042 w 193596"/>
              <a:gd name="connsiteY20" fmla="*/ 23774 h 55016"/>
              <a:gd name="connsiteX21" fmla="*/ 89042 w 193596"/>
              <a:gd name="connsiteY21" fmla="*/ 33909 h 55016"/>
              <a:gd name="connsiteX22" fmla="*/ 67249 w 193596"/>
              <a:gd name="connsiteY22" fmla="*/ 33909 h 55016"/>
              <a:gd name="connsiteX23" fmla="*/ 67249 w 193596"/>
              <a:gd name="connsiteY23" fmla="*/ 54178 h 55016"/>
              <a:gd name="connsiteX24" fmla="*/ 55438 w 193596"/>
              <a:gd name="connsiteY24" fmla="*/ 54178 h 55016"/>
              <a:gd name="connsiteX25" fmla="*/ 0 w 193596"/>
              <a:gd name="connsiteY25" fmla="*/ 838 h 55016"/>
              <a:gd name="connsiteX26" fmla="*/ 21412 w 193596"/>
              <a:gd name="connsiteY26" fmla="*/ 838 h 55016"/>
              <a:gd name="connsiteX27" fmla="*/ 47244 w 193596"/>
              <a:gd name="connsiteY27" fmla="*/ 27356 h 55016"/>
              <a:gd name="connsiteX28" fmla="*/ 21412 w 193596"/>
              <a:gd name="connsiteY28" fmla="*/ 54178 h 55016"/>
              <a:gd name="connsiteX29" fmla="*/ 0 w 193596"/>
              <a:gd name="connsiteY29" fmla="*/ 54178 h 55016"/>
              <a:gd name="connsiteX30" fmla="*/ 172031 w 193596"/>
              <a:gd name="connsiteY30" fmla="*/ 0 h 55016"/>
              <a:gd name="connsiteX31" fmla="*/ 192605 w 193596"/>
              <a:gd name="connsiteY31" fmla="*/ 16459 h 55016"/>
              <a:gd name="connsiteX32" fmla="*/ 180642 w 193596"/>
              <a:gd name="connsiteY32" fmla="*/ 16459 h 55016"/>
              <a:gd name="connsiteX33" fmla="*/ 172031 w 193596"/>
              <a:gd name="connsiteY33" fmla="*/ 9982 h 55016"/>
              <a:gd name="connsiteX34" fmla="*/ 163725 w 193596"/>
              <a:gd name="connsiteY34" fmla="*/ 15545 h 55016"/>
              <a:gd name="connsiteX35" fmla="*/ 170202 w 193596"/>
              <a:gd name="connsiteY35" fmla="*/ 20803 h 55016"/>
              <a:gd name="connsiteX36" fmla="*/ 178127 w 193596"/>
              <a:gd name="connsiteY36" fmla="*/ 22327 h 55016"/>
              <a:gd name="connsiteX37" fmla="*/ 193596 w 193596"/>
              <a:gd name="connsiteY37" fmla="*/ 38176 h 55016"/>
              <a:gd name="connsiteX38" fmla="*/ 172793 w 193596"/>
              <a:gd name="connsiteY38" fmla="*/ 55016 h 55016"/>
              <a:gd name="connsiteX39" fmla="*/ 151000 w 193596"/>
              <a:gd name="connsiteY39" fmla="*/ 37871 h 55016"/>
              <a:gd name="connsiteX40" fmla="*/ 162963 w 193596"/>
              <a:gd name="connsiteY40" fmla="*/ 37871 h 55016"/>
              <a:gd name="connsiteX41" fmla="*/ 172717 w 193596"/>
              <a:gd name="connsiteY41" fmla="*/ 45034 h 55016"/>
              <a:gd name="connsiteX42" fmla="*/ 181632 w 193596"/>
              <a:gd name="connsiteY42" fmla="*/ 38862 h 55016"/>
              <a:gd name="connsiteX43" fmla="*/ 174774 w 193596"/>
              <a:gd name="connsiteY43" fmla="*/ 32918 h 55016"/>
              <a:gd name="connsiteX44" fmla="*/ 167078 w 193596"/>
              <a:gd name="connsiteY44" fmla="*/ 31471 h 55016"/>
              <a:gd name="connsiteX45" fmla="*/ 151686 w 193596"/>
              <a:gd name="connsiteY45" fmla="*/ 16078 h 55016"/>
              <a:gd name="connsiteX46" fmla="*/ 172031 w 193596"/>
              <a:gd name="connsiteY46" fmla="*/ 0 h 55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3596" h="55016">
                <a:moveTo>
                  <a:pt x="109963" y="11125"/>
                </a:moveTo>
                <a:lnTo>
                  <a:pt x="109963" y="43891"/>
                </a:lnTo>
                <a:lnTo>
                  <a:pt x="118345" y="43891"/>
                </a:lnTo>
                <a:cubicBezTo>
                  <a:pt x="126498" y="43891"/>
                  <a:pt x="133356" y="38786"/>
                  <a:pt x="133356" y="27356"/>
                </a:cubicBezTo>
                <a:cubicBezTo>
                  <a:pt x="133356" y="16611"/>
                  <a:pt x="127032" y="11125"/>
                  <a:pt x="118421" y="11125"/>
                </a:cubicBezTo>
                <a:close/>
                <a:moveTo>
                  <a:pt x="11811" y="11125"/>
                </a:moveTo>
                <a:lnTo>
                  <a:pt x="11811" y="43891"/>
                </a:lnTo>
                <a:lnTo>
                  <a:pt x="20193" y="43891"/>
                </a:lnTo>
                <a:cubicBezTo>
                  <a:pt x="28346" y="43891"/>
                  <a:pt x="35204" y="38786"/>
                  <a:pt x="35204" y="27356"/>
                </a:cubicBezTo>
                <a:cubicBezTo>
                  <a:pt x="35204" y="16611"/>
                  <a:pt x="28880" y="11125"/>
                  <a:pt x="20269" y="11125"/>
                </a:cubicBezTo>
                <a:close/>
                <a:moveTo>
                  <a:pt x="98152" y="838"/>
                </a:moveTo>
                <a:lnTo>
                  <a:pt x="119564" y="838"/>
                </a:lnTo>
                <a:cubicBezTo>
                  <a:pt x="135338" y="838"/>
                  <a:pt x="145396" y="11582"/>
                  <a:pt x="145396" y="27356"/>
                </a:cubicBezTo>
                <a:cubicBezTo>
                  <a:pt x="145396" y="43434"/>
                  <a:pt x="135338" y="54178"/>
                  <a:pt x="119564" y="54178"/>
                </a:cubicBezTo>
                <a:lnTo>
                  <a:pt x="98152" y="54178"/>
                </a:lnTo>
                <a:close/>
                <a:moveTo>
                  <a:pt x="55438" y="838"/>
                </a:moveTo>
                <a:lnTo>
                  <a:pt x="89728" y="838"/>
                </a:lnTo>
                <a:lnTo>
                  <a:pt x="89728" y="11049"/>
                </a:lnTo>
                <a:lnTo>
                  <a:pt x="67249" y="11049"/>
                </a:lnTo>
                <a:lnTo>
                  <a:pt x="67249" y="23774"/>
                </a:lnTo>
                <a:lnTo>
                  <a:pt x="89042" y="23774"/>
                </a:lnTo>
                <a:lnTo>
                  <a:pt x="89042" y="33909"/>
                </a:lnTo>
                <a:lnTo>
                  <a:pt x="67249" y="33909"/>
                </a:lnTo>
                <a:lnTo>
                  <a:pt x="67249" y="54178"/>
                </a:lnTo>
                <a:lnTo>
                  <a:pt x="55438" y="54178"/>
                </a:lnTo>
                <a:close/>
                <a:moveTo>
                  <a:pt x="0" y="838"/>
                </a:moveTo>
                <a:lnTo>
                  <a:pt x="21412" y="838"/>
                </a:lnTo>
                <a:cubicBezTo>
                  <a:pt x="37186" y="838"/>
                  <a:pt x="47244" y="11582"/>
                  <a:pt x="47244" y="27356"/>
                </a:cubicBezTo>
                <a:cubicBezTo>
                  <a:pt x="47244" y="43434"/>
                  <a:pt x="37186" y="54178"/>
                  <a:pt x="21412" y="54178"/>
                </a:cubicBezTo>
                <a:lnTo>
                  <a:pt x="0" y="54178"/>
                </a:lnTo>
                <a:close/>
                <a:moveTo>
                  <a:pt x="172031" y="0"/>
                </a:moveTo>
                <a:cubicBezTo>
                  <a:pt x="183614" y="0"/>
                  <a:pt x="191538" y="6629"/>
                  <a:pt x="192605" y="16459"/>
                </a:cubicBezTo>
                <a:lnTo>
                  <a:pt x="180642" y="16459"/>
                </a:lnTo>
                <a:cubicBezTo>
                  <a:pt x="179727" y="12421"/>
                  <a:pt x="177213" y="9982"/>
                  <a:pt x="172031" y="9982"/>
                </a:cubicBezTo>
                <a:cubicBezTo>
                  <a:pt x="167764" y="9982"/>
                  <a:pt x="163725" y="11659"/>
                  <a:pt x="163725" y="15545"/>
                </a:cubicBezTo>
                <a:cubicBezTo>
                  <a:pt x="163725" y="18517"/>
                  <a:pt x="166164" y="19964"/>
                  <a:pt x="170202" y="20803"/>
                </a:cubicBezTo>
                <a:lnTo>
                  <a:pt x="178127" y="22327"/>
                </a:lnTo>
                <a:cubicBezTo>
                  <a:pt x="187805" y="24155"/>
                  <a:pt x="193596" y="29489"/>
                  <a:pt x="193596" y="38176"/>
                </a:cubicBezTo>
                <a:cubicBezTo>
                  <a:pt x="193596" y="49454"/>
                  <a:pt x="183842" y="55016"/>
                  <a:pt x="172793" y="55016"/>
                </a:cubicBezTo>
                <a:cubicBezTo>
                  <a:pt x="159839" y="55016"/>
                  <a:pt x="152219" y="47701"/>
                  <a:pt x="151000" y="37871"/>
                </a:cubicBezTo>
                <a:lnTo>
                  <a:pt x="162963" y="37871"/>
                </a:lnTo>
                <a:cubicBezTo>
                  <a:pt x="163649" y="42367"/>
                  <a:pt x="167383" y="45034"/>
                  <a:pt x="172717" y="45034"/>
                </a:cubicBezTo>
                <a:cubicBezTo>
                  <a:pt x="177365" y="45034"/>
                  <a:pt x="181632" y="43053"/>
                  <a:pt x="181632" y="38862"/>
                </a:cubicBezTo>
                <a:cubicBezTo>
                  <a:pt x="181632" y="35738"/>
                  <a:pt x="179194" y="33757"/>
                  <a:pt x="174774" y="32918"/>
                </a:cubicBezTo>
                <a:lnTo>
                  <a:pt x="167078" y="31471"/>
                </a:lnTo>
                <a:cubicBezTo>
                  <a:pt x="158010" y="29947"/>
                  <a:pt x="151686" y="24841"/>
                  <a:pt x="151686" y="16078"/>
                </a:cubicBezTo>
                <a:cubicBezTo>
                  <a:pt x="151686" y="5105"/>
                  <a:pt x="161820" y="0"/>
                  <a:pt x="172031" y="0"/>
                </a:cubicBezTo>
                <a:close/>
              </a:path>
            </a:pathLst>
          </a:custGeom>
          <a:solidFill>
            <a:srgbClr val="002B45"/>
          </a:solidFill>
          <a:ln w="9525" cap="flat">
            <a:noFill/>
            <a:prstDash val="solid"/>
            <a:miter/>
          </a:ln>
        </p:spPr>
        <p:txBody>
          <a:bodyPr rtlCol="0" anchor="ctr"/>
          <a:lstStyle/>
          <a:p>
            <a:endParaRPr lang="en-GB"/>
          </a:p>
        </p:txBody>
      </p:sp>
    </p:spTree>
    <p:extLst>
      <p:ext uri="{BB962C8B-B14F-4D97-AF65-F5344CB8AC3E}">
        <p14:creationId xmlns:p14="http://schemas.microsoft.com/office/powerpoint/2010/main" val="2108212856"/>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A (light image)">
    <p:bg>
      <p:bgPr>
        <a:solidFill>
          <a:schemeClr val="accent2"/>
        </a:solidFill>
        <a:effectLst/>
      </p:bgPr>
    </p:bg>
    <p:spTree>
      <p:nvGrpSpPr>
        <p:cNvPr id="1" name=""/>
        <p:cNvGrpSpPr/>
        <p:nvPr/>
      </p:nvGrpSpPr>
      <p:grpSpPr>
        <a:xfrm>
          <a:off x="0" y="0"/>
          <a:ext cx="0" cy="0"/>
          <a:chOff x="0" y="0"/>
          <a:chExt cx="0" cy="0"/>
        </a:xfrm>
      </p:grpSpPr>
      <p:sp>
        <p:nvSpPr>
          <p:cNvPr id="21" name="Background">
            <a:extLst>
              <a:ext uri="{FF2B5EF4-FFF2-40B4-BE49-F238E27FC236}">
                <a16:creationId xmlns:a16="http://schemas.microsoft.com/office/drawing/2014/main" id="{09CBB849-CB26-A81F-79F5-F23E771B24D7}"/>
              </a:ext>
            </a:extLst>
          </p:cNvPr>
          <p:cNvSpPr/>
          <p:nvPr userDrawn="1"/>
        </p:nvSpPr>
        <p:spPr>
          <a:xfrm>
            <a:off x="0" y="0"/>
            <a:ext cx="121932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7" name="Picture Placeholder 16">
            <a:extLst>
              <a:ext uri="{FF2B5EF4-FFF2-40B4-BE49-F238E27FC236}">
                <a16:creationId xmlns:a16="http://schemas.microsoft.com/office/drawing/2014/main" id="{0809F643-6183-63D5-FFB1-C2A8EEC61D38}"/>
              </a:ext>
            </a:extLst>
          </p:cNvPr>
          <p:cNvSpPr>
            <a:spLocks noGrp="1"/>
          </p:cNvSpPr>
          <p:nvPr>
            <p:ph type="pic" sz="quarter" idx="18" hasCustomPrompt="1"/>
          </p:nvPr>
        </p:nvSpPr>
        <p:spPr>
          <a:xfrm>
            <a:off x="0" y="0"/>
            <a:ext cx="12192000" cy="6858000"/>
          </a:xfrm>
          <a:custGeom>
            <a:avLst/>
            <a:gdLst>
              <a:gd name="connsiteX0" fmla="*/ 0 w 12192000"/>
              <a:gd name="connsiteY0" fmla="*/ 6857934 h 6858000"/>
              <a:gd name="connsiteX1" fmla="*/ 12192000 w 12192000"/>
              <a:gd name="connsiteY1" fmla="*/ 6857934 h 6858000"/>
              <a:gd name="connsiteX2" fmla="*/ 12192000 w 12192000"/>
              <a:gd name="connsiteY2" fmla="*/ 6858000 h 6858000"/>
              <a:gd name="connsiteX3" fmla="*/ 0 w 12192000"/>
              <a:gd name="connsiteY3" fmla="*/ 6858000 h 6858000"/>
              <a:gd name="connsiteX4" fmla="*/ 0 w 12192000"/>
              <a:gd name="connsiteY4" fmla="*/ 0 h 6858000"/>
              <a:gd name="connsiteX5" fmla="*/ 12192000 w 12192000"/>
              <a:gd name="connsiteY5" fmla="*/ 0 h 6858000"/>
              <a:gd name="connsiteX6" fmla="*/ 12192000 w 12192000"/>
              <a:gd name="connsiteY6" fmla="*/ 3505200 h 6858000"/>
              <a:gd name="connsiteX7" fmla="*/ 0 w 12192000"/>
              <a:gd name="connsiteY7" fmla="*/ 551685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0" y="6857934"/>
                </a:moveTo>
                <a:lnTo>
                  <a:pt x="12192000" y="6857934"/>
                </a:lnTo>
                <a:lnTo>
                  <a:pt x="12192000" y="6858000"/>
                </a:lnTo>
                <a:lnTo>
                  <a:pt x="0" y="6858000"/>
                </a:lnTo>
                <a:close/>
                <a:moveTo>
                  <a:pt x="0" y="0"/>
                </a:moveTo>
                <a:lnTo>
                  <a:pt x="12192000" y="0"/>
                </a:lnTo>
                <a:lnTo>
                  <a:pt x="12192000" y="3505200"/>
                </a:lnTo>
                <a:cubicBezTo>
                  <a:pt x="7286178" y="3505200"/>
                  <a:pt x="5907339" y="5516852"/>
                  <a:pt x="0" y="5516852"/>
                </a:cubicBezTo>
                <a:close/>
              </a:path>
            </a:pathLst>
          </a:custGeom>
          <a:solidFill>
            <a:schemeClr val="bg1">
              <a:lumMod val="95000"/>
            </a:schemeClr>
          </a:solidFill>
        </p:spPr>
        <p:txBody>
          <a:bodyPr wrap="square" bIns="648000" anchor="ctr">
            <a:noAutofit/>
          </a:bodyPr>
          <a:lstStyle>
            <a:lvl1pPr marL="126000" indent="0" algn="ctr">
              <a:buNone/>
              <a:defRPr/>
            </a:lvl1pPr>
          </a:lstStyle>
          <a:p>
            <a:r>
              <a:rPr lang="en-GB"/>
              <a:t>Click icon to add light picture</a:t>
            </a:r>
          </a:p>
        </p:txBody>
      </p:sp>
      <p:sp>
        <p:nvSpPr>
          <p:cNvPr id="2" name="Title 1"/>
          <p:cNvSpPr>
            <a:spLocks noGrp="1"/>
          </p:cNvSpPr>
          <p:nvPr>
            <p:ph type="ctrTitle" hasCustomPrompt="1"/>
          </p:nvPr>
        </p:nvSpPr>
        <p:spPr>
          <a:xfrm>
            <a:off x="269875" y="271462"/>
            <a:ext cx="11650663" cy="2029777"/>
          </a:xfrm>
        </p:spPr>
        <p:txBody>
          <a:bodyPr anchor="t"/>
          <a:lstStyle>
            <a:lvl1pPr algn="l">
              <a:lnSpc>
                <a:spcPct val="90000"/>
              </a:lnSpc>
              <a:defRPr sz="7500">
                <a:solidFill>
                  <a:schemeClr val="accent1"/>
                </a:solidFill>
              </a:defRPr>
            </a:lvl1pPr>
          </a:lstStyle>
          <a:p>
            <a:r>
              <a:rPr lang="en-GB"/>
              <a:t>Click to add title</a:t>
            </a:r>
          </a:p>
        </p:txBody>
      </p:sp>
      <p:pic>
        <p:nvPicPr>
          <p:cNvPr id="24" name="Logo">
            <a:extLst>
              <a:ext uri="{FF2B5EF4-FFF2-40B4-BE49-F238E27FC236}">
                <a16:creationId xmlns:a16="http://schemas.microsoft.com/office/drawing/2014/main" id="{FEA3BFCE-12E5-2C60-27A4-78E098AB4CEC}"/>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929938" y="6253163"/>
            <a:ext cx="1000125" cy="333375"/>
          </a:xfrm>
          <a:prstGeom prst="rect">
            <a:avLst/>
          </a:prstGeom>
        </p:spPr>
      </p:pic>
      <p:sp>
        <p:nvSpPr>
          <p:cNvPr id="27" name="Subtitle 2">
            <a:extLst>
              <a:ext uri="{FF2B5EF4-FFF2-40B4-BE49-F238E27FC236}">
                <a16:creationId xmlns:a16="http://schemas.microsoft.com/office/drawing/2014/main" id="{61B7D5FC-1EAC-298E-D828-AEE1FD7B5DD5}"/>
              </a:ext>
            </a:extLst>
          </p:cNvPr>
          <p:cNvSpPr>
            <a:spLocks noGrp="1"/>
          </p:cNvSpPr>
          <p:nvPr>
            <p:ph type="subTitle" idx="1" hasCustomPrompt="1"/>
          </p:nvPr>
        </p:nvSpPr>
        <p:spPr bwMode="white">
          <a:xfrm>
            <a:off x="269875" y="6429375"/>
            <a:ext cx="1971675" cy="157163"/>
          </a:xfrm>
        </p:spPr>
        <p:txBody>
          <a:bodyPr tIns="0"/>
          <a:lstStyle>
            <a:lvl1pPr marL="0" indent="0" algn="l">
              <a:lnSpc>
                <a:spcPct val="100000"/>
              </a:lnSpc>
              <a:spcBef>
                <a:spcPts val="0"/>
              </a:spcBef>
              <a:spcAft>
                <a:spcPts val="0"/>
              </a:spcAft>
              <a:buFont typeface="DFDS Sans" panose="00000500000000000000" pitchFamily="2" charset="0"/>
              <a:buChar char="​"/>
              <a:defRPr sz="1000">
                <a:solidFill>
                  <a:schemeClr val="bg1"/>
                </a:solidFill>
              </a:defRPr>
            </a:lvl1pPr>
            <a:lvl2pPr marL="0" indent="0" algn="l">
              <a:lnSpc>
                <a:spcPct val="100000"/>
              </a:lnSpc>
              <a:spcAft>
                <a:spcPts val="0"/>
              </a:spcAft>
              <a:buFont typeface="DFDS Sans" panose="00000500000000000000" pitchFamily="2" charset="0"/>
              <a:buNone/>
              <a:defRPr sz="1000" b="0">
                <a:solidFill>
                  <a:schemeClr val="bg1"/>
                </a:solidFill>
              </a:defRPr>
            </a:lvl2pPr>
            <a:lvl3pPr marL="0" indent="0" algn="l">
              <a:lnSpc>
                <a:spcPct val="100000"/>
              </a:lnSpc>
              <a:spcAft>
                <a:spcPts val="0"/>
              </a:spcAft>
              <a:buFont typeface="DFDS Sans" panose="00000500000000000000" pitchFamily="2" charset="0"/>
              <a:buChar char="​"/>
              <a:defRPr sz="1000" b="0">
                <a:solidFill>
                  <a:schemeClr val="bg1"/>
                </a:solidFill>
              </a:defRPr>
            </a:lvl3pPr>
            <a:lvl4pPr marL="0" indent="0" algn="l">
              <a:lnSpc>
                <a:spcPct val="100000"/>
              </a:lnSpc>
              <a:spcAft>
                <a:spcPts val="0"/>
              </a:spcAft>
              <a:buFont typeface="DFDS Sans" panose="00000500000000000000" pitchFamily="2" charset="0"/>
              <a:buChar char="​"/>
              <a:defRPr sz="1000" b="0">
                <a:solidFill>
                  <a:schemeClr val="bg1"/>
                </a:solidFill>
              </a:defRPr>
            </a:lvl4pPr>
            <a:lvl5pPr marL="0" indent="0" algn="l">
              <a:lnSpc>
                <a:spcPct val="100000"/>
              </a:lnSpc>
              <a:spcAft>
                <a:spcPts val="0"/>
              </a:spcAft>
              <a:buFont typeface="DFDS Sans" panose="00000500000000000000" pitchFamily="2" charset="0"/>
              <a:buChar char="​"/>
              <a:defRPr sz="1000" b="0">
                <a:solidFill>
                  <a:schemeClr val="bg1"/>
                </a:solidFill>
              </a:defRPr>
            </a:lvl5pPr>
            <a:lvl6pPr marL="0" indent="0" algn="l">
              <a:lnSpc>
                <a:spcPct val="100000"/>
              </a:lnSpc>
              <a:spcAft>
                <a:spcPts val="0"/>
              </a:spcAft>
              <a:buFont typeface="DFDS Sans" panose="00000500000000000000" pitchFamily="2" charset="0"/>
              <a:buChar char="​"/>
              <a:defRPr sz="1000" b="0">
                <a:solidFill>
                  <a:schemeClr val="bg1"/>
                </a:solidFill>
              </a:defRPr>
            </a:lvl6pPr>
            <a:lvl7pPr marL="0" indent="0" algn="l">
              <a:lnSpc>
                <a:spcPct val="100000"/>
              </a:lnSpc>
              <a:spcAft>
                <a:spcPts val="0"/>
              </a:spcAft>
              <a:buFont typeface="DFDS Sans" panose="00000500000000000000" pitchFamily="2" charset="0"/>
              <a:buChar char="​"/>
              <a:defRPr sz="1000" b="0">
                <a:solidFill>
                  <a:schemeClr val="bg1"/>
                </a:solidFill>
              </a:defRPr>
            </a:lvl7pPr>
            <a:lvl8pPr marL="0" indent="0" algn="l">
              <a:lnSpc>
                <a:spcPct val="100000"/>
              </a:lnSpc>
              <a:spcAft>
                <a:spcPts val="0"/>
              </a:spcAft>
              <a:buFont typeface="DFDS Sans" panose="00000500000000000000" pitchFamily="2" charset="0"/>
              <a:buChar char="​"/>
              <a:defRPr sz="1000" b="0">
                <a:solidFill>
                  <a:schemeClr val="bg1"/>
                </a:solidFill>
              </a:defRPr>
            </a:lvl8pPr>
            <a:lvl9pPr marL="0" indent="0" algn="l">
              <a:lnSpc>
                <a:spcPct val="100000"/>
              </a:lnSpc>
              <a:spcAft>
                <a:spcPts val="0"/>
              </a:spcAft>
              <a:buFont typeface="DFDS Sans" panose="00000500000000000000" pitchFamily="2" charset="0"/>
              <a:buChar char="​"/>
              <a:defRPr sz="1000" b="0">
                <a:solidFill>
                  <a:schemeClr val="bg1"/>
                </a:solidFill>
              </a:defRPr>
            </a:lvl9pPr>
          </a:lstStyle>
          <a:p>
            <a:r>
              <a:rPr lang="en-GB"/>
              <a:t>Click to add event name</a:t>
            </a:r>
          </a:p>
        </p:txBody>
      </p:sp>
      <p:sp>
        <p:nvSpPr>
          <p:cNvPr id="37" name="Date Placeholder 36">
            <a:extLst>
              <a:ext uri="{FF2B5EF4-FFF2-40B4-BE49-F238E27FC236}">
                <a16:creationId xmlns:a16="http://schemas.microsoft.com/office/drawing/2014/main" id="{FEB58EF0-72CE-E9B0-DAF2-2DAEE50ABF86}"/>
              </a:ext>
            </a:extLst>
          </p:cNvPr>
          <p:cNvSpPr>
            <a:spLocks noGrp="1"/>
          </p:cNvSpPr>
          <p:nvPr>
            <p:ph type="dt" sz="half" idx="19"/>
          </p:nvPr>
        </p:nvSpPr>
        <p:spPr bwMode="white">
          <a:xfrm>
            <a:off x="3227387" y="6442538"/>
            <a:ext cx="1792287" cy="144000"/>
          </a:xfrm>
        </p:spPr>
        <p:txBody>
          <a:bodyPr/>
          <a:lstStyle>
            <a:lvl1pPr>
              <a:defRPr>
                <a:solidFill>
                  <a:schemeClr val="bg1"/>
                </a:solidFill>
              </a:defRPr>
            </a:lvl1pPr>
          </a:lstStyle>
          <a:p>
            <a:fld id="{0E13B7AC-5FD8-4025-ABCC-27E535FFCA18}" type="datetime4">
              <a:rPr lang="en-GB" smtClean="0"/>
              <a:t>20 February 2025</a:t>
            </a:fld>
            <a:endParaRPr lang="en-GB"/>
          </a:p>
        </p:txBody>
      </p:sp>
    </p:spTree>
    <p:extLst>
      <p:ext uri="{BB962C8B-B14F-4D97-AF65-F5344CB8AC3E}">
        <p14:creationId xmlns:p14="http://schemas.microsoft.com/office/powerpoint/2010/main" val="275321796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Four Content">
    <p:bg>
      <p:bgRef idx="1001">
        <a:schemeClr val="bg1"/>
      </p:bgRef>
    </p:bg>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5A4D96C8-80F9-5464-86C2-2EFF87CDA42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3" name="Content Placeholder 2"/>
          <p:cNvSpPr>
            <a:spLocks noGrp="1"/>
          </p:cNvSpPr>
          <p:nvPr>
            <p:ph idx="1" hasCustomPrompt="1"/>
          </p:nvPr>
        </p:nvSpPr>
        <p:spPr>
          <a:xfrm>
            <a:off x="269876" y="2100152"/>
            <a:ext cx="2778124" cy="4040296"/>
          </a:xfrm>
        </p:spPr>
        <p:txBody>
          <a:bodyPr/>
          <a:lstStyle>
            <a:lvl1pPr>
              <a:defRPr sz="1600"/>
            </a:lvl1pPr>
            <a:lvl2pPr>
              <a:defRPr sz="1400"/>
            </a:lvl2pPr>
            <a:lvl3pPr>
              <a:defRPr sz="1200"/>
            </a:lvl3pPr>
            <a:lvl4pPr>
              <a:defRPr sz="1600"/>
            </a:lvl4pPr>
            <a:lvl5pPr>
              <a:defRPr sz="1600"/>
            </a:lvl5pPr>
          </a:lstStyle>
          <a:p>
            <a:pPr lvl="0"/>
            <a:r>
              <a:rPr lang="en-GB" noProof="0"/>
              <a:t>Click to add text                                                       Press ENTER then TAB to view next text style           Press SHIFT+TAB to view previous text style</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 level</a:t>
            </a:r>
          </a:p>
          <a:p>
            <a:pPr lvl="6"/>
            <a:r>
              <a:rPr lang="en-GB" noProof="0"/>
              <a:t>7 level</a:t>
            </a:r>
          </a:p>
          <a:p>
            <a:pPr lvl="7"/>
            <a:r>
              <a:rPr lang="en-GB" noProof="0"/>
              <a:t>8 level</a:t>
            </a:r>
          </a:p>
          <a:p>
            <a:pPr lvl="8"/>
            <a:r>
              <a:rPr lang="en-GB" noProof="0"/>
              <a:t>9 level</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227387" y="2100152"/>
            <a:ext cx="2778125" cy="4040294"/>
          </a:xfrm>
        </p:spPr>
        <p:txBody>
          <a:bodyPr/>
          <a:lstStyle>
            <a:lvl1pPr>
              <a:defRPr sz="1600"/>
            </a:lvl1pPr>
            <a:lvl2pPr>
              <a:defRPr sz="1400"/>
            </a:lvl2pPr>
            <a:lvl3pPr>
              <a:defRPr sz="1200"/>
            </a:lvl3pPr>
            <a:lvl4pPr>
              <a:defRPr sz="1600"/>
            </a:lvl4pPr>
            <a:lvl5pPr>
              <a:defRPr sz="1600"/>
            </a:lvl5pPr>
          </a:lstStyle>
          <a:p>
            <a:pPr lvl="0"/>
            <a:r>
              <a:rPr lang="en-GB" noProof="0"/>
              <a:t>Click to add text                                                            Press ENTER then TAB to view next text style                Press SHIFT+TAB to view previous text style</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 level</a:t>
            </a:r>
          </a:p>
          <a:p>
            <a:pPr lvl="6"/>
            <a:r>
              <a:rPr lang="en-GB" noProof="0"/>
              <a:t>7 level</a:t>
            </a:r>
          </a:p>
          <a:p>
            <a:pPr lvl="7"/>
            <a:r>
              <a:rPr lang="en-GB" noProof="0"/>
              <a:t>8 level</a:t>
            </a:r>
          </a:p>
          <a:p>
            <a:pPr lvl="8"/>
            <a:r>
              <a:rPr lang="en-GB" noProof="0"/>
              <a:t>9 level</a:t>
            </a:r>
          </a:p>
        </p:txBody>
      </p:sp>
      <p:sp>
        <p:nvSpPr>
          <p:cNvPr id="5" name="Content Placeholder 4">
            <a:extLst>
              <a:ext uri="{FF2B5EF4-FFF2-40B4-BE49-F238E27FC236}">
                <a16:creationId xmlns:a16="http://schemas.microsoft.com/office/drawing/2014/main" id="{C725A8F3-C789-43A7-B9C7-C2E8AD06CA86}"/>
              </a:ext>
            </a:extLst>
          </p:cNvPr>
          <p:cNvSpPr>
            <a:spLocks noGrp="1"/>
          </p:cNvSpPr>
          <p:nvPr>
            <p:ph sz="quarter" idx="13" hasCustomPrompt="1"/>
          </p:nvPr>
        </p:nvSpPr>
        <p:spPr>
          <a:xfrm>
            <a:off x="6184900" y="2100152"/>
            <a:ext cx="2778125" cy="4040294"/>
          </a:xfrm>
        </p:spPr>
        <p:txBody>
          <a:bodyPr/>
          <a:lstStyle>
            <a:lvl1pPr>
              <a:defRPr sz="1600"/>
            </a:lvl1pPr>
            <a:lvl2pPr>
              <a:defRPr sz="1400"/>
            </a:lvl2pPr>
            <a:lvl3pPr>
              <a:defRPr sz="1200"/>
            </a:lvl3pPr>
            <a:lvl4pPr>
              <a:defRPr sz="1600"/>
            </a:lvl4pPr>
            <a:lvl5pPr>
              <a:defRPr sz="1600"/>
            </a:lvl5pPr>
          </a:lstStyle>
          <a:p>
            <a:pPr lvl="0"/>
            <a:r>
              <a:rPr lang="en-GB" noProof="0"/>
              <a:t>Click to add text                                                            Press ENTER then TAB to view next text style                Press SHIFT+TAB to view previous text style</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 level</a:t>
            </a:r>
          </a:p>
          <a:p>
            <a:pPr lvl="6"/>
            <a:r>
              <a:rPr lang="en-GB" noProof="0"/>
              <a:t>7 level</a:t>
            </a:r>
          </a:p>
          <a:p>
            <a:pPr lvl="7"/>
            <a:r>
              <a:rPr lang="en-GB" noProof="0"/>
              <a:t>8 level</a:t>
            </a:r>
          </a:p>
          <a:p>
            <a:pPr lvl="8"/>
            <a:r>
              <a:rPr lang="en-GB" noProof="0"/>
              <a:t>9 level</a:t>
            </a:r>
          </a:p>
        </p:txBody>
      </p:sp>
      <p:sp>
        <p:nvSpPr>
          <p:cNvPr id="11" name="Content Placeholder 10">
            <a:extLst>
              <a:ext uri="{FF2B5EF4-FFF2-40B4-BE49-F238E27FC236}">
                <a16:creationId xmlns:a16="http://schemas.microsoft.com/office/drawing/2014/main" id="{EA075391-72C2-46AD-A34B-A677ADEAE2B2}"/>
              </a:ext>
            </a:extLst>
          </p:cNvPr>
          <p:cNvSpPr>
            <a:spLocks noGrp="1"/>
          </p:cNvSpPr>
          <p:nvPr>
            <p:ph sz="quarter" idx="14" hasCustomPrompt="1"/>
          </p:nvPr>
        </p:nvSpPr>
        <p:spPr>
          <a:xfrm>
            <a:off x="9144000" y="2100152"/>
            <a:ext cx="2778124" cy="4040298"/>
          </a:xfrm>
        </p:spPr>
        <p:txBody>
          <a:bodyPr/>
          <a:lstStyle>
            <a:lvl1pPr>
              <a:defRPr sz="1600"/>
            </a:lvl1pPr>
            <a:lvl2pPr>
              <a:defRPr sz="1400"/>
            </a:lvl2pPr>
            <a:lvl3pPr>
              <a:defRPr sz="1200"/>
            </a:lvl3pPr>
            <a:lvl4pPr>
              <a:defRPr sz="1600"/>
            </a:lvl4pPr>
            <a:lvl5pPr>
              <a:defRPr sz="1600"/>
            </a:lvl5pPr>
          </a:lstStyle>
          <a:p>
            <a:pPr lvl="0"/>
            <a:r>
              <a:rPr lang="en-GB" noProof="0"/>
              <a:t>Click to add text                                                            Press ENTER then TAB to view next text style                Press SHIFT+TAB to view previous text style</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 level</a:t>
            </a:r>
          </a:p>
          <a:p>
            <a:pPr lvl="6"/>
            <a:r>
              <a:rPr lang="en-GB" noProof="0"/>
              <a:t>7 level</a:t>
            </a:r>
          </a:p>
          <a:p>
            <a:pPr lvl="7"/>
            <a:r>
              <a:rPr lang="en-GB" noProof="0"/>
              <a:t>8 level</a:t>
            </a:r>
          </a:p>
          <a:p>
            <a:pPr lvl="8"/>
            <a:r>
              <a:rPr lang="en-GB" noProof="0"/>
              <a:t>9 level</a:t>
            </a:r>
          </a:p>
        </p:txBody>
      </p:sp>
      <p:sp>
        <p:nvSpPr>
          <p:cNvPr id="2" name="Date Placeholder 1">
            <a:extLst>
              <a:ext uri="{FF2B5EF4-FFF2-40B4-BE49-F238E27FC236}">
                <a16:creationId xmlns:a16="http://schemas.microsoft.com/office/drawing/2014/main" id="{02FA4906-0DB3-AF17-FE36-8523BFFE20E6}"/>
              </a:ext>
            </a:extLst>
          </p:cNvPr>
          <p:cNvSpPr>
            <a:spLocks noGrp="1"/>
          </p:cNvSpPr>
          <p:nvPr>
            <p:ph type="dt" sz="half" idx="15"/>
          </p:nvPr>
        </p:nvSpPr>
        <p:spPr>
          <a:xfrm>
            <a:off x="0" y="6858000"/>
            <a:ext cx="0" cy="0"/>
          </a:xfrm>
          <a:prstGeom prst="rect">
            <a:avLst/>
          </a:prstGeom>
        </p:spPr>
        <p:txBody>
          <a:bodyPr/>
          <a:lstStyle>
            <a:lvl1pPr>
              <a:defRPr sz="100">
                <a:noFill/>
              </a:defRPr>
            </a:lvl1pPr>
          </a:lstStyle>
          <a:p>
            <a:fld id="{8F52D17F-006F-4ED1-AC5D-439DA2253039}" type="datetime4">
              <a:rPr lang="en-GB" smtClean="0"/>
              <a:t>20 February 2025</a:t>
            </a:fld>
            <a:endParaRPr lang="en-GB"/>
          </a:p>
        </p:txBody>
      </p:sp>
      <p:sp>
        <p:nvSpPr>
          <p:cNvPr id="12" name="Footer Placeholder 11">
            <a:extLst>
              <a:ext uri="{FF2B5EF4-FFF2-40B4-BE49-F238E27FC236}">
                <a16:creationId xmlns:a16="http://schemas.microsoft.com/office/drawing/2014/main" id="{85066047-A136-616D-B9ED-E45635C0F2EC}"/>
              </a:ext>
            </a:extLst>
          </p:cNvPr>
          <p:cNvSpPr>
            <a:spLocks noGrp="1"/>
          </p:cNvSpPr>
          <p:nvPr>
            <p:ph type="ftr" sz="quarter" idx="16"/>
          </p:nvPr>
        </p:nvSpPr>
        <p:spPr/>
        <p:txBody>
          <a:bodyPr/>
          <a:lstStyle/>
          <a:p>
            <a:endParaRPr lang="en-GB"/>
          </a:p>
        </p:txBody>
      </p:sp>
      <p:sp>
        <p:nvSpPr>
          <p:cNvPr id="13" name="Slide Number Placeholder 12">
            <a:extLst>
              <a:ext uri="{FF2B5EF4-FFF2-40B4-BE49-F238E27FC236}">
                <a16:creationId xmlns:a16="http://schemas.microsoft.com/office/drawing/2014/main" id="{3FF0A4B6-AF00-7132-4ED4-46178627DC01}"/>
              </a:ext>
            </a:extLst>
          </p:cNvPr>
          <p:cNvSpPr>
            <a:spLocks noGrp="1"/>
          </p:cNvSpPr>
          <p:nvPr>
            <p:ph type="sldNum" sz="quarter" idx="17"/>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40F98638-84CA-EAA7-373C-4485E5AEEE33}"/>
              </a:ext>
            </a:extLst>
          </p:cNvPr>
          <p:cNvSpPr>
            <a:spLocks noGrp="1"/>
          </p:cNvSpPr>
          <p:nvPr>
            <p:ph type="title" hasCustomPrompt="1"/>
          </p:nvPr>
        </p:nvSpPr>
        <p:spPr/>
        <p:txBody>
          <a:bodyPr/>
          <a:lstStyle>
            <a:lvl1pPr>
              <a:defRPr/>
            </a:lvl1pPr>
          </a:lstStyle>
          <a:p>
            <a:r>
              <a:rPr lang="en-GB"/>
              <a:t>Click to add title</a:t>
            </a:r>
          </a:p>
        </p:txBody>
      </p:sp>
      <p:sp>
        <p:nvSpPr>
          <p:cNvPr id="6" name="Subtitle 2">
            <a:extLst>
              <a:ext uri="{FF2B5EF4-FFF2-40B4-BE49-F238E27FC236}">
                <a16:creationId xmlns:a16="http://schemas.microsoft.com/office/drawing/2014/main" id="{84E4FA4A-369E-93ED-0F9B-1C45099ABDDB}"/>
              </a:ext>
            </a:extLst>
          </p:cNvPr>
          <p:cNvSpPr>
            <a:spLocks noGrp="1"/>
          </p:cNvSpPr>
          <p:nvPr>
            <p:ph type="subTitle" idx="18" hasCustomPrompt="1"/>
          </p:nvPr>
        </p:nvSpPr>
        <p:spPr>
          <a:xfrm>
            <a:off x="269875" y="1380151"/>
            <a:ext cx="8693150" cy="540000"/>
          </a:xfrm>
        </p:spPr>
        <p:txBody>
          <a:bodyPr/>
          <a:lstStyle>
            <a:lvl1pPr marL="0" indent="0" algn="l">
              <a:spcBef>
                <a:spcPts val="0"/>
              </a:spcBef>
              <a:buFont typeface="DFDS Sans" panose="00000500000000000000" pitchFamily="2" charset="0"/>
              <a:buChar char="​"/>
              <a:defRPr sz="1800"/>
            </a:lvl1pPr>
            <a:lvl2pPr marL="0" indent="0" algn="l">
              <a:spcAft>
                <a:spcPts val="600"/>
              </a:spcAft>
              <a:buFont typeface="DFDS Sans" panose="00000500000000000000" pitchFamily="2" charset="0"/>
              <a:buNone/>
              <a:defRPr sz="1600" b="0"/>
            </a:lvl2pPr>
            <a:lvl3pPr marL="0" indent="0" algn="l">
              <a:spcAft>
                <a:spcPts val="600"/>
              </a:spcAft>
              <a:buFont typeface="DFDS Sans" panose="00000500000000000000" pitchFamily="2" charset="0"/>
              <a:buChar char="​"/>
              <a:defRPr sz="1600" b="0"/>
            </a:lvl3pPr>
            <a:lvl4pPr marL="0" indent="0" algn="l">
              <a:spcAft>
                <a:spcPts val="600"/>
              </a:spcAft>
              <a:buFont typeface="DFDS Sans" panose="00000500000000000000" pitchFamily="2" charset="0"/>
              <a:buChar char="​"/>
              <a:defRPr sz="1600" b="0"/>
            </a:lvl4pPr>
            <a:lvl5pPr marL="0" indent="0" algn="l">
              <a:spcAft>
                <a:spcPts val="600"/>
              </a:spcAft>
              <a:buFont typeface="DFDS Sans" panose="00000500000000000000" pitchFamily="2" charset="0"/>
              <a:buChar char="​"/>
              <a:defRPr sz="1600" b="0"/>
            </a:lvl5pPr>
            <a:lvl6pPr marL="0" indent="0" algn="l">
              <a:spcAft>
                <a:spcPts val="600"/>
              </a:spcAft>
              <a:buFont typeface="DFDS Sans" panose="00000500000000000000" pitchFamily="2" charset="0"/>
              <a:buChar char="​"/>
              <a:defRPr sz="1600" b="0"/>
            </a:lvl6pPr>
            <a:lvl7pPr marL="0" indent="0" algn="l">
              <a:spcAft>
                <a:spcPts val="600"/>
              </a:spcAft>
              <a:buFont typeface="DFDS Sans" panose="00000500000000000000" pitchFamily="2" charset="0"/>
              <a:buChar char="​"/>
              <a:defRPr sz="1600" b="0"/>
            </a:lvl7pPr>
            <a:lvl8pPr marL="0" indent="0" algn="l">
              <a:spcAft>
                <a:spcPts val="600"/>
              </a:spcAft>
              <a:buFont typeface="DFDS Sans" panose="00000500000000000000" pitchFamily="2" charset="0"/>
              <a:buChar char="​"/>
              <a:defRPr sz="1600" b="0"/>
            </a:lvl8pPr>
            <a:lvl9pPr marL="0" indent="0" algn="l">
              <a:spcAft>
                <a:spcPts val="600"/>
              </a:spcAft>
              <a:buFont typeface="DFDS Sans" panose="00000500000000000000" pitchFamily="2" charset="0"/>
              <a:buChar char="​"/>
              <a:defRPr sz="1600" b="0"/>
            </a:lvl9pPr>
          </a:lstStyle>
          <a:p>
            <a:r>
              <a:rPr lang="en-GB"/>
              <a:t>Click to add up to 2 lines of subtitle</a:t>
            </a:r>
          </a:p>
        </p:txBody>
      </p:sp>
      <p:sp>
        <p:nvSpPr>
          <p:cNvPr id="9" name="Footer logo">
            <a:extLst>
              <a:ext uri="{FF2B5EF4-FFF2-40B4-BE49-F238E27FC236}">
                <a16:creationId xmlns:a16="http://schemas.microsoft.com/office/drawing/2014/main" id="{F60B1A2A-1324-7CE1-570D-543239B16068}"/>
              </a:ext>
            </a:extLst>
          </p:cNvPr>
          <p:cNvSpPr>
            <a:spLocks noChangeAspect="1"/>
          </p:cNvSpPr>
          <p:nvPr userDrawn="1"/>
        </p:nvSpPr>
        <p:spPr>
          <a:xfrm>
            <a:off x="11634124" y="6504694"/>
            <a:ext cx="288000" cy="81844"/>
          </a:xfrm>
          <a:custGeom>
            <a:avLst/>
            <a:gdLst>
              <a:gd name="connsiteX0" fmla="*/ 109963 w 193596"/>
              <a:gd name="connsiteY0" fmla="*/ 11125 h 55016"/>
              <a:gd name="connsiteX1" fmla="*/ 109963 w 193596"/>
              <a:gd name="connsiteY1" fmla="*/ 43891 h 55016"/>
              <a:gd name="connsiteX2" fmla="*/ 118345 w 193596"/>
              <a:gd name="connsiteY2" fmla="*/ 43891 h 55016"/>
              <a:gd name="connsiteX3" fmla="*/ 133356 w 193596"/>
              <a:gd name="connsiteY3" fmla="*/ 27356 h 55016"/>
              <a:gd name="connsiteX4" fmla="*/ 118421 w 193596"/>
              <a:gd name="connsiteY4" fmla="*/ 11125 h 55016"/>
              <a:gd name="connsiteX5" fmla="*/ 11811 w 193596"/>
              <a:gd name="connsiteY5" fmla="*/ 11125 h 55016"/>
              <a:gd name="connsiteX6" fmla="*/ 11811 w 193596"/>
              <a:gd name="connsiteY6" fmla="*/ 43891 h 55016"/>
              <a:gd name="connsiteX7" fmla="*/ 20193 w 193596"/>
              <a:gd name="connsiteY7" fmla="*/ 43891 h 55016"/>
              <a:gd name="connsiteX8" fmla="*/ 35204 w 193596"/>
              <a:gd name="connsiteY8" fmla="*/ 27356 h 55016"/>
              <a:gd name="connsiteX9" fmla="*/ 20269 w 193596"/>
              <a:gd name="connsiteY9" fmla="*/ 11125 h 55016"/>
              <a:gd name="connsiteX10" fmla="*/ 98152 w 193596"/>
              <a:gd name="connsiteY10" fmla="*/ 838 h 55016"/>
              <a:gd name="connsiteX11" fmla="*/ 119564 w 193596"/>
              <a:gd name="connsiteY11" fmla="*/ 838 h 55016"/>
              <a:gd name="connsiteX12" fmla="*/ 145396 w 193596"/>
              <a:gd name="connsiteY12" fmla="*/ 27356 h 55016"/>
              <a:gd name="connsiteX13" fmla="*/ 119564 w 193596"/>
              <a:gd name="connsiteY13" fmla="*/ 54178 h 55016"/>
              <a:gd name="connsiteX14" fmla="*/ 98152 w 193596"/>
              <a:gd name="connsiteY14" fmla="*/ 54178 h 55016"/>
              <a:gd name="connsiteX15" fmla="*/ 55438 w 193596"/>
              <a:gd name="connsiteY15" fmla="*/ 838 h 55016"/>
              <a:gd name="connsiteX16" fmla="*/ 89728 w 193596"/>
              <a:gd name="connsiteY16" fmla="*/ 838 h 55016"/>
              <a:gd name="connsiteX17" fmla="*/ 89728 w 193596"/>
              <a:gd name="connsiteY17" fmla="*/ 11049 h 55016"/>
              <a:gd name="connsiteX18" fmla="*/ 67249 w 193596"/>
              <a:gd name="connsiteY18" fmla="*/ 11049 h 55016"/>
              <a:gd name="connsiteX19" fmla="*/ 67249 w 193596"/>
              <a:gd name="connsiteY19" fmla="*/ 23774 h 55016"/>
              <a:gd name="connsiteX20" fmla="*/ 89042 w 193596"/>
              <a:gd name="connsiteY20" fmla="*/ 23774 h 55016"/>
              <a:gd name="connsiteX21" fmla="*/ 89042 w 193596"/>
              <a:gd name="connsiteY21" fmla="*/ 33909 h 55016"/>
              <a:gd name="connsiteX22" fmla="*/ 67249 w 193596"/>
              <a:gd name="connsiteY22" fmla="*/ 33909 h 55016"/>
              <a:gd name="connsiteX23" fmla="*/ 67249 w 193596"/>
              <a:gd name="connsiteY23" fmla="*/ 54178 h 55016"/>
              <a:gd name="connsiteX24" fmla="*/ 55438 w 193596"/>
              <a:gd name="connsiteY24" fmla="*/ 54178 h 55016"/>
              <a:gd name="connsiteX25" fmla="*/ 0 w 193596"/>
              <a:gd name="connsiteY25" fmla="*/ 838 h 55016"/>
              <a:gd name="connsiteX26" fmla="*/ 21412 w 193596"/>
              <a:gd name="connsiteY26" fmla="*/ 838 h 55016"/>
              <a:gd name="connsiteX27" fmla="*/ 47244 w 193596"/>
              <a:gd name="connsiteY27" fmla="*/ 27356 h 55016"/>
              <a:gd name="connsiteX28" fmla="*/ 21412 w 193596"/>
              <a:gd name="connsiteY28" fmla="*/ 54178 h 55016"/>
              <a:gd name="connsiteX29" fmla="*/ 0 w 193596"/>
              <a:gd name="connsiteY29" fmla="*/ 54178 h 55016"/>
              <a:gd name="connsiteX30" fmla="*/ 172031 w 193596"/>
              <a:gd name="connsiteY30" fmla="*/ 0 h 55016"/>
              <a:gd name="connsiteX31" fmla="*/ 192605 w 193596"/>
              <a:gd name="connsiteY31" fmla="*/ 16459 h 55016"/>
              <a:gd name="connsiteX32" fmla="*/ 180642 w 193596"/>
              <a:gd name="connsiteY32" fmla="*/ 16459 h 55016"/>
              <a:gd name="connsiteX33" fmla="*/ 172031 w 193596"/>
              <a:gd name="connsiteY33" fmla="*/ 9982 h 55016"/>
              <a:gd name="connsiteX34" fmla="*/ 163725 w 193596"/>
              <a:gd name="connsiteY34" fmla="*/ 15545 h 55016"/>
              <a:gd name="connsiteX35" fmla="*/ 170202 w 193596"/>
              <a:gd name="connsiteY35" fmla="*/ 20803 h 55016"/>
              <a:gd name="connsiteX36" fmla="*/ 178127 w 193596"/>
              <a:gd name="connsiteY36" fmla="*/ 22327 h 55016"/>
              <a:gd name="connsiteX37" fmla="*/ 193596 w 193596"/>
              <a:gd name="connsiteY37" fmla="*/ 38176 h 55016"/>
              <a:gd name="connsiteX38" fmla="*/ 172793 w 193596"/>
              <a:gd name="connsiteY38" fmla="*/ 55016 h 55016"/>
              <a:gd name="connsiteX39" fmla="*/ 151000 w 193596"/>
              <a:gd name="connsiteY39" fmla="*/ 37871 h 55016"/>
              <a:gd name="connsiteX40" fmla="*/ 162963 w 193596"/>
              <a:gd name="connsiteY40" fmla="*/ 37871 h 55016"/>
              <a:gd name="connsiteX41" fmla="*/ 172717 w 193596"/>
              <a:gd name="connsiteY41" fmla="*/ 45034 h 55016"/>
              <a:gd name="connsiteX42" fmla="*/ 181632 w 193596"/>
              <a:gd name="connsiteY42" fmla="*/ 38862 h 55016"/>
              <a:gd name="connsiteX43" fmla="*/ 174774 w 193596"/>
              <a:gd name="connsiteY43" fmla="*/ 32918 h 55016"/>
              <a:gd name="connsiteX44" fmla="*/ 167078 w 193596"/>
              <a:gd name="connsiteY44" fmla="*/ 31471 h 55016"/>
              <a:gd name="connsiteX45" fmla="*/ 151686 w 193596"/>
              <a:gd name="connsiteY45" fmla="*/ 16078 h 55016"/>
              <a:gd name="connsiteX46" fmla="*/ 172031 w 193596"/>
              <a:gd name="connsiteY46" fmla="*/ 0 h 55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3596" h="55016">
                <a:moveTo>
                  <a:pt x="109963" y="11125"/>
                </a:moveTo>
                <a:lnTo>
                  <a:pt x="109963" y="43891"/>
                </a:lnTo>
                <a:lnTo>
                  <a:pt x="118345" y="43891"/>
                </a:lnTo>
                <a:cubicBezTo>
                  <a:pt x="126498" y="43891"/>
                  <a:pt x="133356" y="38786"/>
                  <a:pt x="133356" y="27356"/>
                </a:cubicBezTo>
                <a:cubicBezTo>
                  <a:pt x="133356" y="16611"/>
                  <a:pt x="127032" y="11125"/>
                  <a:pt x="118421" y="11125"/>
                </a:cubicBezTo>
                <a:close/>
                <a:moveTo>
                  <a:pt x="11811" y="11125"/>
                </a:moveTo>
                <a:lnTo>
                  <a:pt x="11811" y="43891"/>
                </a:lnTo>
                <a:lnTo>
                  <a:pt x="20193" y="43891"/>
                </a:lnTo>
                <a:cubicBezTo>
                  <a:pt x="28346" y="43891"/>
                  <a:pt x="35204" y="38786"/>
                  <a:pt x="35204" y="27356"/>
                </a:cubicBezTo>
                <a:cubicBezTo>
                  <a:pt x="35204" y="16611"/>
                  <a:pt x="28880" y="11125"/>
                  <a:pt x="20269" y="11125"/>
                </a:cubicBezTo>
                <a:close/>
                <a:moveTo>
                  <a:pt x="98152" y="838"/>
                </a:moveTo>
                <a:lnTo>
                  <a:pt x="119564" y="838"/>
                </a:lnTo>
                <a:cubicBezTo>
                  <a:pt x="135338" y="838"/>
                  <a:pt x="145396" y="11582"/>
                  <a:pt x="145396" y="27356"/>
                </a:cubicBezTo>
                <a:cubicBezTo>
                  <a:pt x="145396" y="43434"/>
                  <a:pt x="135338" y="54178"/>
                  <a:pt x="119564" y="54178"/>
                </a:cubicBezTo>
                <a:lnTo>
                  <a:pt x="98152" y="54178"/>
                </a:lnTo>
                <a:close/>
                <a:moveTo>
                  <a:pt x="55438" y="838"/>
                </a:moveTo>
                <a:lnTo>
                  <a:pt x="89728" y="838"/>
                </a:lnTo>
                <a:lnTo>
                  <a:pt x="89728" y="11049"/>
                </a:lnTo>
                <a:lnTo>
                  <a:pt x="67249" y="11049"/>
                </a:lnTo>
                <a:lnTo>
                  <a:pt x="67249" y="23774"/>
                </a:lnTo>
                <a:lnTo>
                  <a:pt x="89042" y="23774"/>
                </a:lnTo>
                <a:lnTo>
                  <a:pt x="89042" y="33909"/>
                </a:lnTo>
                <a:lnTo>
                  <a:pt x="67249" y="33909"/>
                </a:lnTo>
                <a:lnTo>
                  <a:pt x="67249" y="54178"/>
                </a:lnTo>
                <a:lnTo>
                  <a:pt x="55438" y="54178"/>
                </a:lnTo>
                <a:close/>
                <a:moveTo>
                  <a:pt x="0" y="838"/>
                </a:moveTo>
                <a:lnTo>
                  <a:pt x="21412" y="838"/>
                </a:lnTo>
                <a:cubicBezTo>
                  <a:pt x="37186" y="838"/>
                  <a:pt x="47244" y="11582"/>
                  <a:pt x="47244" y="27356"/>
                </a:cubicBezTo>
                <a:cubicBezTo>
                  <a:pt x="47244" y="43434"/>
                  <a:pt x="37186" y="54178"/>
                  <a:pt x="21412" y="54178"/>
                </a:cubicBezTo>
                <a:lnTo>
                  <a:pt x="0" y="54178"/>
                </a:lnTo>
                <a:close/>
                <a:moveTo>
                  <a:pt x="172031" y="0"/>
                </a:moveTo>
                <a:cubicBezTo>
                  <a:pt x="183614" y="0"/>
                  <a:pt x="191538" y="6629"/>
                  <a:pt x="192605" y="16459"/>
                </a:cubicBezTo>
                <a:lnTo>
                  <a:pt x="180642" y="16459"/>
                </a:lnTo>
                <a:cubicBezTo>
                  <a:pt x="179727" y="12421"/>
                  <a:pt x="177213" y="9982"/>
                  <a:pt x="172031" y="9982"/>
                </a:cubicBezTo>
                <a:cubicBezTo>
                  <a:pt x="167764" y="9982"/>
                  <a:pt x="163725" y="11659"/>
                  <a:pt x="163725" y="15545"/>
                </a:cubicBezTo>
                <a:cubicBezTo>
                  <a:pt x="163725" y="18517"/>
                  <a:pt x="166164" y="19964"/>
                  <a:pt x="170202" y="20803"/>
                </a:cubicBezTo>
                <a:lnTo>
                  <a:pt x="178127" y="22327"/>
                </a:lnTo>
                <a:cubicBezTo>
                  <a:pt x="187805" y="24155"/>
                  <a:pt x="193596" y="29489"/>
                  <a:pt x="193596" y="38176"/>
                </a:cubicBezTo>
                <a:cubicBezTo>
                  <a:pt x="193596" y="49454"/>
                  <a:pt x="183842" y="55016"/>
                  <a:pt x="172793" y="55016"/>
                </a:cubicBezTo>
                <a:cubicBezTo>
                  <a:pt x="159839" y="55016"/>
                  <a:pt x="152219" y="47701"/>
                  <a:pt x="151000" y="37871"/>
                </a:cubicBezTo>
                <a:lnTo>
                  <a:pt x="162963" y="37871"/>
                </a:lnTo>
                <a:cubicBezTo>
                  <a:pt x="163649" y="42367"/>
                  <a:pt x="167383" y="45034"/>
                  <a:pt x="172717" y="45034"/>
                </a:cubicBezTo>
                <a:cubicBezTo>
                  <a:pt x="177365" y="45034"/>
                  <a:pt x="181632" y="43053"/>
                  <a:pt x="181632" y="38862"/>
                </a:cubicBezTo>
                <a:cubicBezTo>
                  <a:pt x="181632" y="35738"/>
                  <a:pt x="179194" y="33757"/>
                  <a:pt x="174774" y="32918"/>
                </a:cubicBezTo>
                <a:lnTo>
                  <a:pt x="167078" y="31471"/>
                </a:lnTo>
                <a:cubicBezTo>
                  <a:pt x="158010" y="29947"/>
                  <a:pt x="151686" y="24841"/>
                  <a:pt x="151686" y="16078"/>
                </a:cubicBezTo>
                <a:cubicBezTo>
                  <a:pt x="151686" y="5105"/>
                  <a:pt x="161820" y="0"/>
                  <a:pt x="172031" y="0"/>
                </a:cubicBezTo>
                <a:close/>
              </a:path>
            </a:pathLst>
          </a:custGeom>
          <a:solidFill>
            <a:srgbClr val="002B45"/>
          </a:solidFill>
          <a:ln w="9525" cap="flat">
            <a:noFill/>
            <a:prstDash val="solid"/>
            <a:miter/>
          </a:ln>
        </p:spPr>
        <p:txBody>
          <a:bodyPr rtlCol="0" anchor="ctr"/>
          <a:lstStyle/>
          <a:p>
            <a:endParaRPr lang="en-GB"/>
          </a:p>
        </p:txBody>
      </p:sp>
    </p:spTree>
    <p:extLst>
      <p:ext uri="{BB962C8B-B14F-4D97-AF65-F5344CB8AC3E}">
        <p14:creationId xmlns:p14="http://schemas.microsoft.com/office/powerpoint/2010/main" val="95596089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Report Four Content">
    <p:bg>
      <p:bgRef idx="1001">
        <a:schemeClr val="bg1"/>
      </p:bgRef>
    </p:bg>
    <p:spTree>
      <p:nvGrpSpPr>
        <p:cNvPr id="1" name=""/>
        <p:cNvGrpSpPr/>
        <p:nvPr/>
      </p:nvGrpSpPr>
      <p:grpSpPr>
        <a:xfrm>
          <a:off x="0" y="0"/>
          <a:ext cx="0" cy="0"/>
          <a:chOff x="0" y="0"/>
          <a:chExt cx="0" cy="0"/>
        </a:xfrm>
      </p:grpSpPr>
      <p:sp>
        <p:nvSpPr>
          <p:cNvPr id="4" name="Background">
            <a:extLst>
              <a:ext uri="{FF2B5EF4-FFF2-40B4-BE49-F238E27FC236}">
                <a16:creationId xmlns:a16="http://schemas.microsoft.com/office/drawing/2014/main" id="{904E9C71-3D04-1622-783D-B157ABFD8A3F}"/>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3" name="Content Placeholder 2"/>
          <p:cNvSpPr>
            <a:spLocks noGrp="1"/>
          </p:cNvSpPr>
          <p:nvPr>
            <p:ph idx="1" hasCustomPrompt="1"/>
          </p:nvPr>
        </p:nvSpPr>
        <p:spPr>
          <a:xfrm>
            <a:off x="269876" y="269874"/>
            <a:ext cx="5735628" cy="2842200"/>
          </a:xfrm>
        </p:spPr>
        <p:txBody>
          <a:bodyPr/>
          <a:lstStyle>
            <a:lvl1pPr>
              <a:defRPr sz="1600"/>
            </a:lvl1pPr>
            <a:lvl2pPr>
              <a:defRPr sz="1400"/>
            </a:lvl2pPr>
            <a:lvl3pPr>
              <a:defRPr sz="1200"/>
            </a:lvl3pPr>
            <a:lvl4pPr>
              <a:defRPr sz="1600"/>
            </a:lvl4pPr>
            <a:lvl5pPr>
              <a:defRPr sz="1600"/>
            </a:lvl5pPr>
          </a:lstStyle>
          <a:p>
            <a:pPr lvl="0"/>
            <a:r>
              <a:rPr lang="en-GB" noProof="0"/>
              <a:t>Click to add text                                                                           Press ENTER then TAB to view next text style                Press SHIFT+TAB to view previous text style</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 level</a:t>
            </a:r>
          </a:p>
          <a:p>
            <a:pPr lvl="6"/>
            <a:r>
              <a:rPr lang="en-GB" noProof="0"/>
              <a:t>7 level</a:t>
            </a:r>
          </a:p>
          <a:p>
            <a:pPr lvl="7"/>
            <a:r>
              <a:rPr lang="en-GB" noProof="0"/>
              <a:t>8 level</a:t>
            </a:r>
          </a:p>
          <a:p>
            <a:pPr lvl="8"/>
            <a:r>
              <a:rPr lang="en-GB" noProof="0"/>
              <a:t>9 level</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269875" y="3311109"/>
            <a:ext cx="5735628" cy="2842200"/>
          </a:xfrm>
        </p:spPr>
        <p:txBody>
          <a:bodyPr/>
          <a:lstStyle>
            <a:lvl1pPr>
              <a:defRPr sz="1600"/>
            </a:lvl1pPr>
            <a:lvl2pPr>
              <a:defRPr sz="1400"/>
            </a:lvl2pPr>
            <a:lvl3pPr>
              <a:defRPr sz="1200"/>
            </a:lvl3pPr>
            <a:lvl4pPr>
              <a:defRPr sz="1600"/>
            </a:lvl4pPr>
            <a:lvl5pPr>
              <a:defRPr sz="1600"/>
            </a:lvl5pPr>
          </a:lstStyle>
          <a:p>
            <a:pPr lvl="0"/>
            <a:r>
              <a:rPr lang="en-GB" noProof="0"/>
              <a:t>Click to add text                                                                           Press ENTER then TAB to view next text style                Press SHIFT+TAB to view previous text style</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 level</a:t>
            </a:r>
          </a:p>
          <a:p>
            <a:pPr lvl="6"/>
            <a:r>
              <a:rPr lang="en-GB" noProof="0"/>
              <a:t>7 level</a:t>
            </a:r>
          </a:p>
          <a:p>
            <a:pPr lvl="7"/>
            <a:r>
              <a:rPr lang="en-GB" noProof="0"/>
              <a:t>8 level</a:t>
            </a:r>
          </a:p>
          <a:p>
            <a:pPr lvl="8"/>
            <a:r>
              <a:rPr lang="en-GB" noProof="0"/>
              <a:t>9 level</a:t>
            </a:r>
          </a:p>
        </p:txBody>
      </p:sp>
      <p:sp>
        <p:nvSpPr>
          <p:cNvPr id="5" name="Content Placeholder 4">
            <a:extLst>
              <a:ext uri="{FF2B5EF4-FFF2-40B4-BE49-F238E27FC236}">
                <a16:creationId xmlns:a16="http://schemas.microsoft.com/office/drawing/2014/main" id="{C725A8F3-C789-43A7-B9C7-C2E8AD06CA86}"/>
              </a:ext>
            </a:extLst>
          </p:cNvPr>
          <p:cNvSpPr>
            <a:spLocks noGrp="1"/>
          </p:cNvSpPr>
          <p:nvPr>
            <p:ph sz="quarter" idx="13" hasCustomPrompt="1"/>
          </p:nvPr>
        </p:nvSpPr>
        <p:spPr>
          <a:xfrm>
            <a:off x="6184900" y="269874"/>
            <a:ext cx="5737224" cy="2842199"/>
          </a:xfrm>
        </p:spPr>
        <p:txBody>
          <a:bodyPr/>
          <a:lstStyle>
            <a:lvl1pPr>
              <a:defRPr sz="1600"/>
            </a:lvl1pPr>
            <a:lvl2pPr>
              <a:defRPr sz="1400"/>
            </a:lvl2pPr>
            <a:lvl3pPr>
              <a:defRPr sz="1200"/>
            </a:lvl3pPr>
            <a:lvl4pPr>
              <a:defRPr sz="1600"/>
            </a:lvl4pPr>
            <a:lvl5pPr>
              <a:defRPr sz="1600"/>
            </a:lvl5pPr>
          </a:lstStyle>
          <a:p>
            <a:pPr lvl="0"/>
            <a:r>
              <a:rPr lang="en-GB" noProof="0"/>
              <a:t>Click to add text                                                                           Press ENTER then TAB to view next text style                Press SHIFT+TAB to view previous text style</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 level</a:t>
            </a:r>
          </a:p>
          <a:p>
            <a:pPr lvl="6"/>
            <a:r>
              <a:rPr lang="en-GB" noProof="0"/>
              <a:t>7 level</a:t>
            </a:r>
          </a:p>
          <a:p>
            <a:pPr lvl="7"/>
            <a:r>
              <a:rPr lang="en-GB" noProof="0"/>
              <a:t>8 level</a:t>
            </a:r>
          </a:p>
          <a:p>
            <a:pPr lvl="8"/>
            <a:r>
              <a:rPr lang="en-GB" noProof="0"/>
              <a:t>9 level</a:t>
            </a:r>
          </a:p>
        </p:txBody>
      </p:sp>
      <p:sp>
        <p:nvSpPr>
          <p:cNvPr id="11" name="Content Placeholder 10">
            <a:extLst>
              <a:ext uri="{FF2B5EF4-FFF2-40B4-BE49-F238E27FC236}">
                <a16:creationId xmlns:a16="http://schemas.microsoft.com/office/drawing/2014/main" id="{EA075391-72C2-46AD-A34B-A677ADEAE2B2}"/>
              </a:ext>
            </a:extLst>
          </p:cNvPr>
          <p:cNvSpPr>
            <a:spLocks noGrp="1"/>
          </p:cNvSpPr>
          <p:nvPr>
            <p:ph sz="quarter" idx="14" hasCustomPrompt="1"/>
          </p:nvPr>
        </p:nvSpPr>
        <p:spPr>
          <a:xfrm>
            <a:off x="6183314" y="3311338"/>
            <a:ext cx="5737224" cy="2839590"/>
          </a:xfrm>
        </p:spPr>
        <p:txBody>
          <a:bodyPr/>
          <a:lstStyle>
            <a:lvl1pPr>
              <a:defRPr sz="1600"/>
            </a:lvl1pPr>
            <a:lvl2pPr>
              <a:defRPr sz="1400"/>
            </a:lvl2pPr>
            <a:lvl3pPr>
              <a:defRPr sz="1200"/>
            </a:lvl3pPr>
            <a:lvl4pPr>
              <a:defRPr sz="1600"/>
            </a:lvl4pPr>
            <a:lvl5pPr>
              <a:defRPr sz="1600"/>
            </a:lvl5pPr>
          </a:lstStyle>
          <a:p>
            <a:pPr lvl="0"/>
            <a:r>
              <a:rPr lang="en-GB" noProof="0"/>
              <a:t>Click to add text                                                                           Press ENTER then TAB to view next text style                Press SHIFT+TAB to view previous text style</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 level</a:t>
            </a:r>
          </a:p>
          <a:p>
            <a:pPr lvl="6"/>
            <a:r>
              <a:rPr lang="en-GB" noProof="0"/>
              <a:t>7 level</a:t>
            </a:r>
          </a:p>
          <a:p>
            <a:pPr lvl="7"/>
            <a:r>
              <a:rPr lang="en-GB" noProof="0"/>
              <a:t>8 level</a:t>
            </a:r>
          </a:p>
          <a:p>
            <a:pPr lvl="8"/>
            <a:r>
              <a:rPr lang="en-GB" noProof="0"/>
              <a:t>9 level</a:t>
            </a:r>
          </a:p>
        </p:txBody>
      </p:sp>
      <p:sp>
        <p:nvSpPr>
          <p:cNvPr id="2" name="Date Placeholder 1">
            <a:extLst>
              <a:ext uri="{FF2B5EF4-FFF2-40B4-BE49-F238E27FC236}">
                <a16:creationId xmlns:a16="http://schemas.microsoft.com/office/drawing/2014/main" id="{02FA4906-0DB3-AF17-FE36-8523BFFE20E6}"/>
              </a:ext>
            </a:extLst>
          </p:cNvPr>
          <p:cNvSpPr>
            <a:spLocks noGrp="1"/>
          </p:cNvSpPr>
          <p:nvPr>
            <p:ph type="dt" sz="half" idx="15"/>
          </p:nvPr>
        </p:nvSpPr>
        <p:spPr>
          <a:xfrm>
            <a:off x="0" y="6858000"/>
            <a:ext cx="0" cy="0"/>
          </a:xfrm>
          <a:prstGeom prst="rect">
            <a:avLst/>
          </a:prstGeom>
        </p:spPr>
        <p:txBody>
          <a:bodyPr/>
          <a:lstStyle>
            <a:lvl1pPr>
              <a:defRPr sz="100">
                <a:noFill/>
              </a:defRPr>
            </a:lvl1pPr>
          </a:lstStyle>
          <a:p>
            <a:fld id="{55D10769-2C1B-421B-8AC2-1F325C09DE42}" type="datetime4">
              <a:rPr lang="en-GB" smtClean="0"/>
              <a:t>20 February 2025</a:t>
            </a:fld>
            <a:endParaRPr lang="en-GB"/>
          </a:p>
        </p:txBody>
      </p:sp>
      <p:sp>
        <p:nvSpPr>
          <p:cNvPr id="12" name="Footer Placeholder 11">
            <a:extLst>
              <a:ext uri="{FF2B5EF4-FFF2-40B4-BE49-F238E27FC236}">
                <a16:creationId xmlns:a16="http://schemas.microsoft.com/office/drawing/2014/main" id="{85066047-A136-616D-B9ED-E45635C0F2EC}"/>
              </a:ext>
            </a:extLst>
          </p:cNvPr>
          <p:cNvSpPr>
            <a:spLocks noGrp="1"/>
          </p:cNvSpPr>
          <p:nvPr>
            <p:ph type="ftr" sz="quarter" idx="16"/>
          </p:nvPr>
        </p:nvSpPr>
        <p:spPr/>
        <p:txBody>
          <a:bodyPr/>
          <a:lstStyle/>
          <a:p>
            <a:endParaRPr lang="en-GB"/>
          </a:p>
        </p:txBody>
      </p:sp>
      <p:sp>
        <p:nvSpPr>
          <p:cNvPr id="13" name="Slide Number Placeholder 12">
            <a:extLst>
              <a:ext uri="{FF2B5EF4-FFF2-40B4-BE49-F238E27FC236}">
                <a16:creationId xmlns:a16="http://schemas.microsoft.com/office/drawing/2014/main" id="{3FF0A4B6-AF00-7132-4ED4-46178627DC01}"/>
              </a:ext>
            </a:extLst>
          </p:cNvPr>
          <p:cNvSpPr>
            <a:spLocks noGrp="1"/>
          </p:cNvSpPr>
          <p:nvPr>
            <p:ph type="sldNum" sz="quarter" idx="17"/>
          </p:nvPr>
        </p:nvSpPr>
        <p:spPr/>
        <p:txBody>
          <a:bodyPr/>
          <a:lstStyle/>
          <a:p>
            <a:fld id="{23AA811B-2EBD-4900-905E-5BE206449611}" type="slidenum">
              <a:rPr lang="en-GB" smtClean="0"/>
              <a:pPr/>
              <a:t>‹#›</a:t>
            </a:fld>
            <a:endParaRPr lang="en-GB"/>
          </a:p>
        </p:txBody>
      </p:sp>
      <p:sp>
        <p:nvSpPr>
          <p:cNvPr id="6" name="Footer logo">
            <a:extLst>
              <a:ext uri="{FF2B5EF4-FFF2-40B4-BE49-F238E27FC236}">
                <a16:creationId xmlns:a16="http://schemas.microsoft.com/office/drawing/2014/main" id="{82C2C816-D50A-ED9D-BA4E-F2AD8B7CE0AE}"/>
              </a:ext>
            </a:extLst>
          </p:cNvPr>
          <p:cNvSpPr>
            <a:spLocks noChangeAspect="1"/>
          </p:cNvSpPr>
          <p:nvPr userDrawn="1"/>
        </p:nvSpPr>
        <p:spPr>
          <a:xfrm>
            <a:off x="11634124" y="6504694"/>
            <a:ext cx="288000" cy="81844"/>
          </a:xfrm>
          <a:custGeom>
            <a:avLst/>
            <a:gdLst>
              <a:gd name="connsiteX0" fmla="*/ 109963 w 193596"/>
              <a:gd name="connsiteY0" fmla="*/ 11125 h 55016"/>
              <a:gd name="connsiteX1" fmla="*/ 109963 w 193596"/>
              <a:gd name="connsiteY1" fmla="*/ 43891 h 55016"/>
              <a:gd name="connsiteX2" fmla="*/ 118345 w 193596"/>
              <a:gd name="connsiteY2" fmla="*/ 43891 h 55016"/>
              <a:gd name="connsiteX3" fmla="*/ 133356 w 193596"/>
              <a:gd name="connsiteY3" fmla="*/ 27356 h 55016"/>
              <a:gd name="connsiteX4" fmla="*/ 118421 w 193596"/>
              <a:gd name="connsiteY4" fmla="*/ 11125 h 55016"/>
              <a:gd name="connsiteX5" fmla="*/ 11811 w 193596"/>
              <a:gd name="connsiteY5" fmla="*/ 11125 h 55016"/>
              <a:gd name="connsiteX6" fmla="*/ 11811 w 193596"/>
              <a:gd name="connsiteY6" fmla="*/ 43891 h 55016"/>
              <a:gd name="connsiteX7" fmla="*/ 20193 w 193596"/>
              <a:gd name="connsiteY7" fmla="*/ 43891 h 55016"/>
              <a:gd name="connsiteX8" fmla="*/ 35204 w 193596"/>
              <a:gd name="connsiteY8" fmla="*/ 27356 h 55016"/>
              <a:gd name="connsiteX9" fmla="*/ 20269 w 193596"/>
              <a:gd name="connsiteY9" fmla="*/ 11125 h 55016"/>
              <a:gd name="connsiteX10" fmla="*/ 98152 w 193596"/>
              <a:gd name="connsiteY10" fmla="*/ 838 h 55016"/>
              <a:gd name="connsiteX11" fmla="*/ 119564 w 193596"/>
              <a:gd name="connsiteY11" fmla="*/ 838 h 55016"/>
              <a:gd name="connsiteX12" fmla="*/ 145396 w 193596"/>
              <a:gd name="connsiteY12" fmla="*/ 27356 h 55016"/>
              <a:gd name="connsiteX13" fmla="*/ 119564 w 193596"/>
              <a:gd name="connsiteY13" fmla="*/ 54178 h 55016"/>
              <a:gd name="connsiteX14" fmla="*/ 98152 w 193596"/>
              <a:gd name="connsiteY14" fmla="*/ 54178 h 55016"/>
              <a:gd name="connsiteX15" fmla="*/ 55438 w 193596"/>
              <a:gd name="connsiteY15" fmla="*/ 838 h 55016"/>
              <a:gd name="connsiteX16" fmla="*/ 89728 w 193596"/>
              <a:gd name="connsiteY16" fmla="*/ 838 h 55016"/>
              <a:gd name="connsiteX17" fmla="*/ 89728 w 193596"/>
              <a:gd name="connsiteY17" fmla="*/ 11049 h 55016"/>
              <a:gd name="connsiteX18" fmla="*/ 67249 w 193596"/>
              <a:gd name="connsiteY18" fmla="*/ 11049 h 55016"/>
              <a:gd name="connsiteX19" fmla="*/ 67249 w 193596"/>
              <a:gd name="connsiteY19" fmla="*/ 23774 h 55016"/>
              <a:gd name="connsiteX20" fmla="*/ 89042 w 193596"/>
              <a:gd name="connsiteY20" fmla="*/ 23774 h 55016"/>
              <a:gd name="connsiteX21" fmla="*/ 89042 w 193596"/>
              <a:gd name="connsiteY21" fmla="*/ 33909 h 55016"/>
              <a:gd name="connsiteX22" fmla="*/ 67249 w 193596"/>
              <a:gd name="connsiteY22" fmla="*/ 33909 h 55016"/>
              <a:gd name="connsiteX23" fmla="*/ 67249 w 193596"/>
              <a:gd name="connsiteY23" fmla="*/ 54178 h 55016"/>
              <a:gd name="connsiteX24" fmla="*/ 55438 w 193596"/>
              <a:gd name="connsiteY24" fmla="*/ 54178 h 55016"/>
              <a:gd name="connsiteX25" fmla="*/ 0 w 193596"/>
              <a:gd name="connsiteY25" fmla="*/ 838 h 55016"/>
              <a:gd name="connsiteX26" fmla="*/ 21412 w 193596"/>
              <a:gd name="connsiteY26" fmla="*/ 838 h 55016"/>
              <a:gd name="connsiteX27" fmla="*/ 47244 w 193596"/>
              <a:gd name="connsiteY27" fmla="*/ 27356 h 55016"/>
              <a:gd name="connsiteX28" fmla="*/ 21412 w 193596"/>
              <a:gd name="connsiteY28" fmla="*/ 54178 h 55016"/>
              <a:gd name="connsiteX29" fmla="*/ 0 w 193596"/>
              <a:gd name="connsiteY29" fmla="*/ 54178 h 55016"/>
              <a:gd name="connsiteX30" fmla="*/ 172031 w 193596"/>
              <a:gd name="connsiteY30" fmla="*/ 0 h 55016"/>
              <a:gd name="connsiteX31" fmla="*/ 192605 w 193596"/>
              <a:gd name="connsiteY31" fmla="*/ 16459 h 55016"/>
              <a:gd name="connsiteX32" fmla="*/ 180642 w 193596"/>
              <a:gd name="connsiteY32" fmla="*/ 16459 h 55016"/>
              <a:gd name="connsiteX33" fmla="*/ 172031 w 193596"/>
              <a:gd name="connsiteY33" fmla="*/ 9982 h 55016"/>
              <a:gd name="connsiteX34" fmla="*/ 163725 w 193596"/>
              <a:gd name="connsiteY34" fmla="*/ 15545 h 55016"/>
              <a:gd name="connsiteX35" fmla="*/ 170202 w 193596"/>
              <a:gd name="connsiteY35" fmla="*/ 20803 h 55016"/>
              <a:gd name="connsiteX36" fmla="*/ 178127 w 193596"/>
              <a:gd name="connsiteY36" fmla="*/ 22327 h 55016"/>
              <a:gd name="connsiteX37" fmla="*/ 193596 w 193596"/>
              <a:gd name="connsiteY37" fmla="*/ 38176 h 55016"/>
              <a:gd name="connsiteX38" fmla="*/ 172793 w 193596"/>
              <a:gd name="connsiteY38" fmla="*/ 55016 h 55016"/>
              <a:gd name="connsiteX39" fmla="*/ 151000 w 193596"/>
              <a:gd name="connsiteY39" fmla="*/ 37871 h 55016"/>
              <a:gd name="connsiteX40" fmla="*/ 162963 w 193596"/>
              <a:gd name="connsiteY40" fmla="*/ 37871 h 55016"/>
              <a:gd name="connsiteX41" fmla="*/ 172717 w 193596"/>
              <a:gd name="connsiteY41" fmla="*/ 45034 h 55016"/>
              <a:gd name="connsiteX42" fmla="*/ 181632 w 193596"/>
              <a:gd name="connsiteY42" fmla="*/ 38862 h 55016"/>
              <a:gd name="connsiteX43" fmla="*/ 174774 w 193596"/>
              <a:gd name="connsiteY43" fmla="*/ 32918 h 55016"/>
              <a:gd name="connsiteX44" fmla="*/ 167078 w 193596"/>
              <a:gd name="connsiteY44" fmla="*/ 31471 h 55016"/>
              <a:gd name="connsiteX45" fmla="*/ 151686 w 193596"/>
              <a:gd name="connsiteY45" fmla="*/ 16078 h 55016"/>
              <a:gd name="connsiteX46" fmla="*/ 172031 w 193596"/>
              <a:gd name="connsiteY46" fmla="*/ 0 h 55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3596" h="55016">
                <a:moveTo>
                  <a:pt x="109963" y="11125"/>
                </a:moveTo>
                <a:lnTo>
                  <a:pt x="109963" y="43891"/>
                </a:lnTo>
                <a:lnTo>
                  <a:pt x="118345" y="43891"/>
                </a:lnTo>
                <a:cubicBezTo>
                  <a:pt x="126498" y="43891"/>
                  <a:pt x="133356" y="38786"/>
                  <a:pt x="133356" y="27356"/>
                </a:cubicBezTo>
                <a:cubicBezTo>
                  <a:pt x="133356" y="16611"/>
                  <a:pt x="127032" y="11125"/>
                  <a:pt x="118421" y="11125"/>
                </a:cubicBezTo>
                <a:close/>
                <a:moveTo>
                  <a:pt x="11811" y="11125"/>
                </a:moveTo>
                <a:lnTo>
                  <a:pt x="11811" y="43891"/>
                </a:lnTo>
                <a:lnTo>
                  <a:pt x="20193" y="43891"/>
                </a:lnTo>
                <a:cubicBezTo>
                  <a:pt x="28346" y="43891"/>
                  <a:pt x="35204" y="38786"/>
                  <a:pt x="35204" y="27356"/>
                </a:cubicBezTo>
                <a:cubicBezTo>
                  <a:pt x="35204" y="16611"/>
                  <a:pt x="28880" y="11125"/>
                  <a:pt x="20269" y="11125"/>
                </a:cubicBezTo>
                <a:close/>
                <a:moveTo>
                  <a:pt x="98152" y="838"/>
                </a:moveTo>
                <a:lnTo>
                  <a:pt x="119564" y="838"/>
                </a:lnTo>
                <a:cubicBezTo>
                  <a:pt x="135338" y="838"/>
                  <a:pt x="145396" y="11582"/>
                  <a:pt x="145396" y="27356"/>
                </a:cubicBezTo>
                <a:cubicBezTo>
                  <a:pt x="145396" y="43434"/>
                  <a:pt x="135338" y="54178"/>
                  <a:pt x="119564" y="54178"/>
                </a:cubicBezTo>
                <a:lnTo>
                  <a:pt x="98152" y="54178"/>
                </a:lnTo>
                <a:close/>
                <a:moveTo>
                  <a:pt x="55438" y="838"/>
                </a:moveTo>
                <a:lnTo>
                  <a:pt x="89728" y="838"/>
                </a:lnTo>
                <a:lnTo>
                  <a:pt x="89728" y="11049"/>
                </a:lnTo>
                <a:lnTo>
                  <a:pt x="67249" y="11049"/>
                </a:lnTo>
                <a:lnTo>
                  <a:pt x="67249" y="23774"/>
                </a:lnTo>
                <a:lnTo>
                  <a:pt x="89042" y="23774"/>
                </a:lnTo>
                <a:lnTo>
                  <a:pt x="89042" y="33909"/>
                </a:lnTo>
                <a:lnTo>
                  <a:pt x="67249" y="33909"/>
                </a:lnTo>
                <a:lnTo>
                  <a:pt x="67249" y="54178"/>
                </a:lnTo>
                <a:lnTo>
                  <a:pt x="55438" y="54178"/>
                </a:lnTo>
                <a:close/>
                <a:moveTo>
                  <a:pt x="0" y="838"/>
                </a:moveTo>
                <a:lnTo>
                  <a:pt x="21412" y="838"/>
                </a:lnTo>
                <a:cubicBezTo>
                  <a:pt x="37186" y="838"/>
                  <a:pt x="47244" y="11582"/>
                  <a:pt x="47244" y="27356"/>
                </a:cubicBezTo>
                <a:cubicBezTo>
                  <a:pt x="47244" y="43434"/>
                  <a:pt x="37186" y="54178"/>
                  <a:pt x="21412" y="54178"/>
                </a:cubicBezTo>
                <a:lnTo>
                  <a:pt x="0" y="54178"/>
                </a:lnTo>
                <a:close/>
                <a:moveTo>
                  <a:pt x="172031" y="0"/>
                </a:moveTo>
                <a:cubicBezTo>
                  <a:pt x="183614" y="0"/>
                  <a:pt x="191538" y="6629"/>
                  <a:pt x="192605" y="16459"/>
                </a:cubicBezTo>
                <a:lnTo>
                  <a:pt x="180642" y="16459"/>
                </a:lnTo>
                <a:cubicBezTo>
                  <a:pt x="179727" y="12421"/>
                  <a:pt x="177213" y="9982"/>
                  <a:pt x="172031" y="9982"/>
                </a:cubicBezTo>
                <a:cubicBezTo>
                  <a:pt x="167764" y="9982"/>
                  <a:pt x="163725" y="11659"/>
                  <a:pt x="163725" y="15545"/>
                </a:cubicBezTo>
                <a:cubicBezTo>
                  <a:pt x="163725" y="18517"/>
                  <a:pt x="166164" y="19964"/>
                  <a:pt x="170202" y="20803"/>
                </a:cubicBezTo>
                <a:lnTo>
                  <a:pt x="178127" y="22327"/>
                </a:lnTo>
                <a:cubicBezTo>
                  <a:pt x="187805" y="24155"/>
                  <a:pt x="193596" y="29489"/>
                  <a:pt x="193596" y="38176"/>
                </a:cubicBezTo>
                <a:cubicBezTo>
                  <a:pt x="193596" y="49454"/>
                  <a:pt x="183842" y="55016"/>
                  <a:pt x="172793" y="55016"/>
                </a:cubicBezTo>
                <a:cubicBezTo>
                  <a:pt x="159839" y="55016"/>
                  <a:pt x="152219" y="47701"/>
                  <a:pt x="151000" y="37871"/>
                </a:cubicBezTo>
                <a:lnTo>
                  <a:pt x="162963" y="37871"/>
                </a:lnTo>
                <a:cubicBezTo>
                  <a:pt x="163649" y="42367"/>
                  <a:pt x="167383" y="45034"/>
                  <a:pt x="172717" y="45034"/>
                </a:cubicBezTo>
                <a:cubicBezTo>
                  <a:pt x="177365" y="45034"/>
                  <a:pt x="181632" y="43053"/>
                  <a:pt x="181632" y="38862"/>
                </a:cubicBezTo>
                <a:cubicBezTo>
                  <a:pt x="181632" y="35738"/>
                  <a:pt x="179194" y="33757"/>
                  <a:pt x="174774" y="32918"/>
                </a:cubicBezTo>
                <a:lnTo>
                  <a:pt x="167078" y="31471"/>
                </a:lnTo>
                <a:cubicBezTo>
                  <a:pt x="158010" y="29947"/>
                  <a:pt x="151686" y="24841"/>
                  <a:pt x="151686" y="16078"/>
                </a:cubicBezTo>
                <a:cubicBezTo>
                  <a:pt x="151686" y="5105"/>
                  <a:pt x="161820" y="0"/>
                  <a:pt x="172031" y="0"/>
                </a:cubicBezTo>
                <a:close/>
              </a:path>
            </a:pathLst>
          </a:custGeom>
          <a:solidFill>
            <a:srgbClr val="002B45"/>
          </a:solidFill>
          <a:ln w="9525" cap="flat">
            <a:noFill/>
            <a:prstDash val="solid"/>
            <a:miter/>
          </a:ln>
        </p:spPr>
        <p:txBody>
          <a:bodyPr rtlCol="0" anchor="ctr"/>
          <a:lstStyle/>
          <a:p>
            <a:endParaRPr lang="en-GB"/>
          </a:p>
        </p:txBody>
      </p:sp>
    </p:spTree>
    <p:extLst>
      <p:ext uri="{BB962C8B-B14F-4D97-AF65-F5344CB8AC3E}">
        <p14:creationId xmlns:p14="http://schemas.microsoft.com/office/powerpoint/2010/main" val="120748517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and Content">
    <p:spTree>
      <p:nvGrpSpPr>
        <p:cNvPr id="1" name=""/>
        <p:cNvGrpSpPr/>
        <p:nvPr/>
      </p:nvGrpSpPr>
      <p:grpSpPr>
        <a:xfrm>
          <a:off x="0" y="0"/>
          <a:ext cx="0" cy="0"/>
          <a:chOff x="0" y="0"/>
          <a:chExt cx="0" cy="0"/>
        </a:xfrm>
      </p:grpSpPr>
      <p:sp>
        <p:nvSpPr>
          <p:cNvPr id="6" name="Background">
            <a:extLst>
              <a:ext uri="{FF2B5EF4-FFF2-40B4-BE49-F238E27FC236}">
                <a16:creationId xmlns:a16="http://schemas.microsoft.com/office/drawing/2014/main" id="{E0E37BF3-DB8D-D647-B287-AF6F3E68BE5A}"/>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a:extLst>
              <a:ext uri="{FF2B5EF4-FFF2-40B4-BE49-F238E27FC236}">
                <a16:creationId xmlns:a16="http://schemas.microsoft.com/office/drawing/2014/main" id="{4166AEB5-52F0-4660-8F42-9D54730AF814}"/>
              </a:ext>
            </a:extLst>
          </p:cNvPr>
          <p:cNvSpPr>
            <a:spLocks noGrp="1"/>
          </p:cNvSpPr>
          <p:nvPr>
            <p:ph type="title" hasCustomPrompt="1"/>
          </p:nvPr>
        </p:nvSpPr>
        <p:spPr>
          <a:xfrm>
            <a:off x="266701" y="269875"/>
            <a:ext cx="5739322" cy="930275"/>
          </a:xfrm>
        </p:spPr>
        <p:txBody>
          <a:bodyPr/>
          <a:lstStyle/>
          <a:p>
            <a:r>
              <a:rPr lang="en-GB"/>
              <a:t>Click to add title</a:t>
            </a:r>
          </a:p>
        </p:txBody>
      </p:sp>
      <p:sp>
        <p:nvSpPr>
          <p:cNvPr id="3" name="Content Placeholder 2"/>
          <p:cNvSpPr>
            <a:spLocks noGrp="1"/>
          </p:cNvSpPr>
          <p:nvPr>
            <p:ph idx="1" hasCustomPrompt="1"/>
          </p:nvPr>
        </p:nvSpPr>
        <p:spPr>
          <a:xfrm>
            <a:off x="269876" y="2100150"/>
            <a:ext cx="5735022" cy="4040300"/>
          </a:xfrm>
        </p:spPr>
        <p:txBody>
          <a:bodyPr/>
          <a:lstStyle>
            <a:lvl1pPr>
              <a:defRPr/>
            </a:lvl1pPr>
            <a:lvl5pPr>
              <a:defRPr/>
            </a:lvl5pPr>
            <a:lvl6pPr>
              <a:defRPr/>
            </a:lvl6pPr>
            <a:lvl7pPr>
              <a:defRPr/>
            </a:lvl7pPr>
            <a:lvl8pPr>
              <a:defRPr/>
            </a:lvl8pPr>
            <a:lvl9pPr>
              <a:defRPr/>
            </a:lvl9pPr>
          </a:lstStyle>
          <a:p>
            <a:pPr lvl="0"/>
            <a:r>
              <a:rPr lang="en-GB" noProof="0"/>
              <a:t>Click to add text                                                                                                                                                                                                          Press ENTER then TAB to view next text style                                                                                                                                               Press SHIFT+TAB to view previous text style</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 level</a:t>
            </a:r>
          </a:p>
          <a:p>
            <a:pPr lvl="6"/>
            <a:r>
              <a:rPr lang="en-GB" noProof="0"/>
              <a:t>7 level</a:t>
            </a:r>
          </a:p>
          <a:p>
            <a:pPr lvl="7"/>
            <a:r>
              <a:rPr lang="en-GB" noProof="0"/>
              <a:t>8 level</a:t>
            </a:r>
          </a:p>
          <a:p>
            <a:pPr lvl="8"/>
            <a:r>
              <a:rPr lang="en-GB" noProof="0"/>
              <a:t>9 level</a:t>
            </a:r>
          </a:p>
        </p:txBody>
      </p:sp>
      <p:sp>
        <p:nvSpPr>
          <p:cNvPr id="7" name="Date Placeholder 6">
            <a:extLst>
              <a:ext uri="{FF2B5EF4-FFF2-40B4-BE49-F238E27FC236}">
                <a16:creationId xmlns:a16="http://schemas.microsoft.com/office/drawing/2014/main" id="{14D980D4-A6FE-48C4-3FB4-A170F1DD3EFA}"/>
              </a:ext>
            </a:extLst>
          </p:cNvPr>
          <p:cNvSpPr>
            <a:spLocks noGrp="1"/>
          </p:cNvSpPr>
          <p:nvPr>
            <p:ph type="dt" sz="half" idx="10"/>
          </p:nvPr>
        </p:nvSpPr>
        <p:spPr>
          <a:xfrm>
            <a:off x="0" y="6858000"/>
            <a:ext cx="0" cy="0"/>
          </a:xfrm>
          <a:prstGeom prst="rect">
            <a:avLst/>
          </a:prstGeom>
        </p:spPr>
        <p:txBody>
          <a:bodyPr/>
          <a:lstStyle>
            <a:lvl1pPr>
              <a:defRPr sz="100">
                <a:noFill/>
              </a:defRPr>
            </a:lvl1pPr>
          </a:lstStyle>
          <a:p>
            <a:fld id="{3B3F5B6E-262C-43C0-AF32-0D01AF6BB6AD}" type="datetime4">
              <a:rPr lang="en-GB" smtClean="0"/>
              <a:t>20 February 2025</a:t>
            </a:fld>
            <a:endParaRPr lang="en-GB"/>
          </a:p>
        </p:txBody>
      </p:sp>
      <p:sp>
        <p:nvSpPr>
          <p:cNvPr id="8" name="Footer Placeholder 7">
            <a:extLst>
              <a:ext uri="{FF2B5EF4-FFF2-40B4-BE49-F238E27FC236}">
                <a16:creationId xmlns:a16="http://schemas.microsoft.com/office/drawing/2014/main" id="{09C9C598-2ADD-7AAD-BC20-214AE14F332E}"/>
              </a:ext>
            </a:extLst>
          </p:cNvPr>
          <p:cNvSpPr>
            <a:spLocks noGrp="1"/>
          </p:cNvSpPr>
          <p:nvPr>
            <p:ph type="ftr" sz="quarter" idx="11"/>
          </p:nvPr>
        </p:nvSpPr>
        <p:spPr>
          <a:xfrm>
            <a:off x="1750218" y="6431280"/>
            <a:ext cx="4255295" cy="180000"/>
          </a:xfrm>
        </p:spPr>
        <p:txBody>
          <a:bodyPr tIns="126000"/>
          <a:lstStyle/>
          <a:p>
            <a:endParaRPr lang="en-GB"/>
          </a:p>
        </p:txBody>
      </p:sp>
      <p:sp>
        <p:nvSpPr>
          <p:cNvPr id="9" name="Slide Number Placeholder 8">
            <a:extLst>
              <a:ext uri="{FF2B5EF4-FFF2-40B4-BE49-F238E27FC236}">
                <a16:creationId xmlns:a16="http://schemas.microsoft.com/office/drawing/2014/main" id="{338DCD92-64F9-6FD5-F0BC-D1B2259B4E48}"/>
              </a:ext>
            </a:extLst>
          </p:cNvPr>
          <p:cNvSpPr>
            <a:spLocks noGrp="1"/>
          </p:cNvSpPr>
          <p:nvPr>
            <p:ph type="sldNum" sz="quarter" idx="12"/>
          </p:nvPr>
        </p:nvSpPr>
        <p:spPr/>
        <p:txBody>
          <a:bodyPr tIns="126000"/>
          <a:lstStyle/>
          <a:p>
            <a:fld id="{23AA811B-2EBD-4900-905E-5BE206449611}" type="slidenum">
              <a:rPr lang="en-GB" smtClean="0"/>
              <a:pPr/>
              <a:t>‹#›</a:t>
            </a:fld>
            <a:endParaRPr lang="en-GB"/>
          </a:p>
        </p:txBody>
      </p:sp>
      <p:sp>
        <p:nvSpPr>
          <p:cNvPr id="4" name="Subtitle 2">
            <a:extLst>
              <a:ext uri="{FF2B5EF4-FFF2-40B4-BE49-F238E27FC236}">
                <a16:creationId xmlns:a16="http://schemas.microsoft.com/office/drawing/2014/main" id="{58278FEF-F120-E923-4973-DBEFF1F49F91}"/>
              </a:ext>
            </a:extLst>
          </p:cNvPr>
          <p:cNvSpPr>
            <a:spLocks noGrp="1"/>
          </p:cNvSpPr>
          <p:nvPr>
            <p:ph type="subTitle" idx="13" hasCustomPrompt="1"/>
          </p:nvPr>
        </p:nvSpPr>
        <p:spPr>
          <a:xfrm>
            <a:off x="269875" y="1380150"/>
            <a:ext cx="5737226" cy="540000"/>
          </a:xfrm>
        </p:spPr>
        <p:txBody>
          <a:bodyPr/>
          <a:lstStyle>
            <a:lvl1pPr marL="0" indent="0" algn="l">
              <a:spcBef>
                <a:spcPts val="0"/>
              </a:spcBef>
              <a:buFont typeface="DFDS Sans" panose="00000500000000000000" pitchFamily="2" charset="0"/>
              <a:buChar char="​"/>
              <a:defRPr sz="1800"/>
            </a:lvl1pPr>
            <a:lvl2pPr marL="0" indent="0" algn="l">
              <a:spcAft>
                <a:spcPts val="600"/>
              </a:spcAft>
              <a:buFont typeface="DFDS Sans" panose="00000500000000000000" pitchFamily="2" charset="0"/>
              <a:buNone/>
              <a:defRPr sz="1600" b="0"/>
            </a:lvl2pPr>
            <a:lvl3pPr marL="0" indent="0" algn="l">
              <a:spcAft>
                <a:spcPts val="600"/>
              </a:spcAft>
              <a:buFont typeface="DFDS Sans" panose="00000500000000000000" pitchFamily="2" charset="0"/>
              <a:buChar char="​"/>
              <a:defRPr sz="1600" b="0"/>
            </a:lvl3pPr>
            <a:lvl4pPr marL="0" indent="0" algn="l">
              <a:spcAft>
                <a:spcPts val="600"/>
              </a:spcAft>
              <a:buFont typeface="DFDS Sans" panose="00000500000000000000" pitchFamily="2" charset="0"/>
              <a:buChar char="​"/>
              <a:defRPr sz="1600" b="0"/>
            </a:lvl4pPr>
            <a:lvl5pPr marL="0" indent="0" algn="l">
              <a:spcAft>
                <a:spcPts val="600"/>
              </a:spcAft>
              <a:buFont typeface="DFDS Sans" panose="00000500000000000000" pitchFamily="2" charset="0"/>
              <a:buChar char="​"/>
              <a:defRPr sz="1600" b="0"/>
            </a:lvl5pPr>
            <a:lvl6pPr marL="0" indent="0" algn="l">
              <a:spcAft>
                <a:spcPts val="600"/>
              </a:spcAft>
              <a:buFont typeface="DFDS Sans" panose="00000500000000000000" pitchFamily="2" charset="0"/>
              <a:buChar char="​"/>
              <a:defRPr sz="1600" b="0"/>
            </a:lvl6pPr>
            <a:lvl7pPr marL="0" indent="0" algn="l">
              <a:spcAft>
                <a:spcPts val="600"/>
              </a:spcAft>
              <a:buFont typeface="DFDS Sans" panose="00000500000000000000" pitchFamily="2" charset="0"/>
              <a:buChar char="​"/>
              <a:defRPr sz="1600" b="0"/>
            </a:lvl7pPr>
            <a:lvl8pPr marL="0" indent="0" algn="l">
              <a:spcAft>
                <a:spcPts val="600"/>
              </a:spcAft>
              <a:buFont typeface="DFDS Sans" panose="00000500000000000000" pitchFamily="2" charset="0"/>
              <a:buChar char="​"/>
              <a:defRPr sz="1600" b="0"/>
            </a:lvl8pPr>
            <a:lvl9pPr marL="0" indent="0" algn="l">
              <a:spcAft>
                <a:spcPts val="600"/>
              </a:spcAft>
              <a:buFont typeface="DFDS Sans" panose="00000500000000000000" pitchFamily="2" charset="0"/>
              <a:buChar char="​"/>
              <a:defRPr sz="1600" b="0"/>
            </a:lvl9pPr>
          </a:lstStyle>
          <a:p>
            <a:r>
              <a:rPr lang="en-GB"/>
              <a:t>Click to add up to 2 lines of subtitle</a:t>
            </a:r>
          </a:p>
        </p:txBody>
      </p:sp>
      <p:sp>
        <p:nvSpPr>
          <p:cNvPr id="5" name="Picture Placeholder 4">
            <a:extLst>
              <a:ext uri="{FF2B5EF4-FFF2-40B4-BE49-F238E27FC236}">
                <a16:creationId xmlns:a16="http://schemas.microsoft.com/office/drawing/2014/main" id="{EBFE13BB-F3A4-3595-CBBC-7255F14B3FE3}"/>
              </a:ext>
            </a:extLst>
          </p:cNvPr>
          <p:cNvSpPr>
            <a:spLocks noGrp="1"/>
          </p:cNvSpPr>
          <p:nvPr>
            <p:ph type="pic" sz="quarter" idx="18"/>
          </p:nvPr>
        </p:nvSpPr>
        <p:spPr>
          <a:xfrm>
            <a:off x="6184900" y="0"/>
            <a:ext cx="6008300" cy="6858000"/>
          </a:xfrm>
          <a:custGeom>
            <a:avLst/>
            <a:gdLst>
              <a:gd name="connsiteX0" fmla="*/ 0 w 12195988"/>
              <a:gd name="connsiteY0" fmla="*/ 0 h 6858000"/>
              <a:gd name="connsiteX1" fmla="*/ 2788 w 12195988"/>
              <a:gd name="connsiteY1" fmla="*/ 0 h 6858000"/>
              <a:gd name="connsiteX2" fmla="*/ 12193200 w 12195988"/>
              <a:gd name="connsiteY2" fmla="*/ 0 h 6858000"/>
              <a:gd name="connsiteX3" fmla="*/ 12194788 w 12195988"/>
              <a:gd name="connsiteY3" fmla="*/ 0 h 6858000"/>
              <a:gd name="connsiteX4" fmla="*/ 12195988 w 12195988"/>
              <a:gd name="connsiteY4" fmla="*/ 0 h 6858000"/>
              <a:gd name="connsiteX5" fmla="*/ 12195988 w 12195988"/>
              <a:gd name="connsiteY5" fmla="*/ 6858000 h 6858000"/>
              <a:gd name="connsiteX6" fmla="*/ 12194788 w 12195988"/>
              <a:gd name="connsiteY6" fmla="*/ 6858000 h 6858000"/>
              <a:gd name="connsiteX7" fmla="*/ 12193200 w 12195988"/>
              <a:gd name="connsiteY7" fmla="*/ 6858000 h 6858000"/>
              <a:gd name="connsiteX8" fmla="*/ 2788 w 12195988"/>
              <a:gd name="connsiteY8" fmla="*/ 6858000 h 6858000"/>
              <a:gd name="connsiteX9" fmla="*/ 0 w 12195988"/>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5988" h="6858000">
                <a:moveTo>
                  <a:pt x="0" y="0"/>
                </a:moveTo>
                <a:lnTo>
                  <a:pt x="2788" y="0"/>
                </a:lnTo>
                <a:lnTo>
                  <a:pt x="12193200" y="0"/>
                </a:lnTo>
                <a:lnTo>
                  <a:pt x="12194788" y="0"/>
                </a:lnTo>
                <a:lnTo>
                  <a:pt x="12195988" y="0"/>
                </a:lnTo>
                <a:lnTo>
                  <a:pt x="12195988" y="6858000"/>
                </a:lnTo>
                <a:lnTo>
                  <a:pt x="12194788" y="6858000"/>
                </a:lnTo>
                <a:lnTo>
                  <a:pt x="12193200" y="6858000"/>
                </a:lnTo>
                <a:lnTo>
                  <a:pt x="2788" y="6858000"/>
                </a:lnTo>
                <a:lnTo>
                  <a:pt x="0" y="6858000"/>
                </a:lnTo>
                <a:close/>
              </a:path>
            </a:pathLst>
          </a:custGeom>
          <a:solidFill>
            <a:schemeClr val="bg1">
              <a:lumMod val="95000"/>
            </a:schemeClr>
          </a:solidFill>
        </p:spPr>
        <p:txBody>
          <a:bodyPr wrap="square" bIns="648000" anchor="ctr">
            <a:noAutofit/>
          </a:bodyPr>
          <a:lstStyle>
            <a:lvl1pPr marL="126000" indent="0" algn="ctr">
              <a:buNone/>
              <a:defRPr/>
            </a:lvl1pPr>
          </a:lstStyle>
          <a:p>
            <a:r>
              <a:rPr lang="en-GB"/>
              <a:t>Click icon to add picture</a:t>
            </a:r>
          </a:p>
        </p:txBody>
      </p:sp>
    </p:spTree>
    <p:extLst>
      <p:ext uri="{BB962C8B-B14F-4D97-AF65-F5344CB8AC3E}">
        <p14:creationId xmlns:p14="http://schemas.microsoft.com/office/powerpoint/2010/main" val="65049449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Picture, Content and Text A">
    <p:spTree>
      <p:nvGrpSpPr>
        <p:cNvPr id="1" name=""/>
        <p:cNvGrpSpPr/>
        <p:nvPr/>
      </p:nvGrpSpPr>
      <p:grpSpPr>
        <a:xfrm>
          <a:off x="0" y="0"/>
          <a:ext cx="0" cy="0"/>
          <a:chOff x="0" y="0"/>
          <a:chExt cx="0" cy="0"/>
        </a:xfrm>
      </p:grpSpPr>
      <p:sp>
        <p:nvSpPr>
          <p:cNvPr id="11" name="Background">
            <a:extLst>
              <a:ext uri="{FF2B5EF4-FFF2-40B4-BE49-F238E27FC236}">
                <a16:creationId xmlns:a16="http://schemas.microsoft.com/office/drawing/2014/main" id="{4EFE7B42-92B1-3CEA-42C6-68ABC65699F9}"/>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 name="Rectangle 5">
            <a:extLst>
              <a:ext uri="{FF2B5EF4-FFF2-40B4-BE49-F238E27FC236}">
                <a16:creationId xmlns:a16="http://schemas.microsoft.com/office/drawing/2014/main" id="{436549EF-D8DF-B973-C035-E2B1BF60BE21}"/>
              </a:ext>
            </a:extLst>
          </p:cNvPr>
          <p:cNvSpPr/>
          <p:nvPr userDrawn="1"/>
        </p:nvSpPr>
        <p:spPr>
          <a:xfrm>
            <a:off x="6185500" y="3429000"/>
            <a:ext cx="6007100" cy="3429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a:extLst>
              <a:ext uri="{FF2B5EF4-FFF2-40B4-BE49-F238E27FC236}">
                <a16:creationId xmlns:a16="http://schemas.microsoft.com/office/drawing/2014/main" id="{4166AEB5-52F0-4660-8F42-9D54730AF814}"/>
              </a:ext>
            </a:extLst>
          </p:cNvPr>
          <p:cNvSpPr>
            <a:spLocks noGrp="1"/>
          </p:cNvSpPr>
          <p:nvPr>
            <p:ph type="title" hasCustomPrompt="1"/>
          </p:nvPr>
        </p:nvSpPr>
        <p:spPr>
          <a:xfrm>
            <a:off x="266701" y="269875"/>
            <a:ext cx="5739322" cy="930275"/>
          </a:xfrm>
        </p:spPr>
        <p:txBody>
          <a:bodyPr/>
          <a:lstStyle/>
          <a:p>
            <a:r>
              <a:rPr lang="en-GB"/>
              <a:t>Click to add title</a:t>
            </a:r>
          </a:p>
        </p:txBody>
      </p:sp>
      <p:sp>
        <p:nvSpPr>
          <p:cNvPr id="3" name="Content Placeholder 2"/>
          <p:cNvSpPr>
            <a:spLocks noGrp="1"/>
          </p:cNvSpPr>
          <p:nvPr>
            <p:ph idx="1" hasCustomPrompt="1"/>
          </p:nvPr>
        </p:nvSpPr>
        <p:spPr>
          <a:xfrm>
            <a:off x="269876" y="2100150"/>
            <a:ext cx="5735022" cy="4040300"/>
          </a:xfrm>
        </p:spPr>
        <p:txBody>
          <a:bodyPr/>
          <a:lstStyle>
            <a:lvl1pPr>
              <a:defRPr/>
            </a:lvl1pPr>
            <a:lvl5pPr>
              <a:defRPr/>
            </a:lvl5pPr>
            <a:lvl6pPr>
              <a:defRPr/>
            </a:lvl6pPr>
            <a:lvl7pPr>
              <a:defRPr/>
            </a:lvl7pPr>
            <a:lvl8pPr>
              <a:defRPr/>
            </a:lvl8pPr>
            <a:lvl9pPr>
              <a:defRPr/>
            </a:lvl9pPr>
          </a:lstStyle>
          <a:p>
            <a:pPr lvl="0"/>
            <a:r>
              <a:rPr lang="en-GB" noProof="0"/>
              <a:t>Click to add text                                                                                                                                                                                                          Press ENTER then TAB to view next text style                                                                                                                                               Press SHIFT+TAB to view previous text style</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 level</a:t>
            </a:r>
          </a:p>
          <a:p>
            <a:pPr lvl="6"/>
            <a:r>
              <a:rPr lang="en-GB" noProof="0"/>
              <a:t>7 level</a:t>
            </a:r>
          </a:p>
          <a:p>
            <a:pPr lvl="7"/>
            <a:r>
              <a:rPr lang="en-GB" noProof="0"/>
              <a:t>8 level</a:t>
            </a:r>
          </a:p>
          <a:p>
            <a:pPr lvl="8"/>
            <a:r>
              <a:rPr lang="en-GB" noProof="0"/>
              <a:t>9 level</a:t>
            </a:r>
          </a:p>
        </p:txBody>
      </p:sp>
      <p:sp>
        <p:nvSpPr>
          <p:cNvPr id="7" name="Date Placeholder 6">
            <a:extLst>
              <a:ext uri="{FF2B5EF4-FFF2-40B4-BE49-F238E27FC236}">
                <a16:creationId xmlns:a16="http://schemas.microsoft.com/office/drawing/2014/main" id="{14D980D4-A6FE-48C4-3FB4-A170F1DD3EFA}"/>
              </a:ext>
            </a:extLst>
          </p:cNvPr>
          <p:cNvSpPr>
            <a:spLocks noGrp="1"/>
          </p:cNvSpPr>
          <p:nvPr>
            <p:ph type="dt" sz="half" idx="10"/>
          </p:nvPr>
        </p:nvSpPr>
        <p:spPr>
          <a:xfrm>
            <a:off x="0" y="6858000"/>
            <a:ext cx="0" cy="0"/>
          </a:xfrm>
          <a:prstGeom prst="rect">
            <a:avLst/>
          </a:prstGeom>
        </p:spPr>
        <p:txBody>
          <a:bodyPr/>
          <a:lstStyle>
            <a:lvl1pPr>
              <a:defRPr sz="100">
                <a:noFill/>
              </a:defRPr>
            </a:lvl1pPr>
          </a:lstStyle>
          <a:p>
            <a:fld id="{71DB70A5-FF2B-4520-8F30-3092C421499E}" type="datetime4">
              <a:rPr lang="en-GB" smtClean="0"/>
              <a:t>20 February 2025</a:t>
            </a:fld>
            <a:endParaRPr lang="en-GB"/>
          </a:p>
        </p:txBody>
      </p:sp>
      <p:sp>
        <p:nvSpPr>
          <p:cNvPr id="8" name="Footer Placeholder 7">
            <a:extLst>
              <a:ext uri="{FF2B5EF4-FFF2-40B4-BE49-F238E27FC236}">
                <a16:creationId xmlns:a16="http://schemas.microsoft.com/office/drawing/2014/main" id="{09C9C598-2ADD-7AAD-BC20-214AE14F332E}"/>
              </a:ext>
            </a:extLst>
          </p:cNvPr>
          <p:cNvSpPr>
            <a:spLocks noGrp="1"/>
          </p:cNvSpPr>
          <p:nvPr>
            <p:ph type="ftr" sz="quarter" idx="11"/>
          </p:nvPr>
        </p:nvSpPr>
        <p:spPr>
          <a:xfrm>
            <a:off x="1750218" y="6431280"/>
            <a:ext cx="4255295" cy="180000"/>
          </a:xfrm>
        </p:spPr>
        <p:txBody>
          <a:bodyPr tIns="126000"/>
          <a:lstStyle/>
          <a:p>
            <a:endParaRPr lang="en-GB"/>
          </a:p>
        </p:txBody>
      </p:sp>
      <p:sp>
        <p:nvSpPr>
          <p:cNvPr id="9" name="Slide Number Placeholder 8">
            <a:extLst>
              <a:ext uri="{FF2B5EF4-FFF2-40B4-BE49-F238E27FC236}">
                <a16:creationId xmlns:a16="http://schemas.microsoft.com/office/drawing/2014/main" id="{338DCD92-64F9-6FD5-F0BC-D1B2259B4E48}"/>
              </a:ext>
            </a:extLst>
          </p:cNvPr>
          <p:cNvSpPr>
            <a:spLocks noGrp="1"/>
          </p:cNvSpPr>
          <p:nvPr>
            <p:ph type="sldNum" sz="quarter" idx="12"/>
          </p:nvPr>
        </p:nvSpPr>
        <p:spPr/>
        <p:txBody>
          <a:bodyPr tIns="126000"/>
          <a:lstStyle/>
          <a:p>
            <a:fld id="{23AA811B-2EBD-4900-905E-5BE206449611}" type="slidenum">
              <a:rPr lang="en-GB" smtClean="0"/>
              <a:pPr/>
              <a:t>‹#›</a:t>
            </a:fld>
            <a:endParaRPr lang="en-GB"/>
          </a:p>
        </p:txBody>
      </p:sp>
      <p:sp>
        <p:nvSpPr>
          <p:cNvPr id="4" name="Subtitle 2">
            <a:extLst>
              <a:ext uri="{FF2B5EF4-FFF2-40B4-BE49-F238E27FC236}">
                <a16:creationId xmlns:a16="http://schemas.microsoft.com/office/drawing/2014/main" id="{58278FEF-F120-E923-4973-DBEFF1F49F91}"/>
              </a:ext>
            </a:extLst>
          </p:cNvPr>
          <p:cNvSpPr>
            <a:spLocks noGrp="1"/>
          </p:cNvSpPr>
          <p:nvPr>
            <p:ph type="subTitle" idx="13" hasCustomPrompt="1"/>
          </p:nvPr>
        </p:nvSpPr>
        <p:spPr>
          <a:xfrm>
            <a:off x="269875" y="1380150"/>
            <a:ext cx="5737226" cy="540000"/>
          </a:xfrm>
        </p:spPr>
        <p:txBody>
          <a:bodyPr/>
          <a:lstStyle>
            <a:lvl1pPr marL="0" indent="0" algn="l">
              <a:spcBef>
                <a:spcPts val="0"/>
              </a:spcBef>
              <a:buFont typeface="DFDS Sans" panose="00000500000000000000" pitchFamily="2" charset="0"/>
              <a:buChar char="​"/>
              <a:defRPr sz="1800"/>
            </a:lvl1pPr>
            <a:lvl2pPr marL="0" indent="0" algn="l">
              <a:spcAft>
                <a:spcPts val="600"/>
              </a:spcAft>
              <a:buFont typeface="DFDS Sans" panose="00000500000000000000" pitchFamily="2" charset="0"/>
              <a:buNone/>
              <a:defRPr sz="1600" b="0"/>
            </a:lvl2pPr>
            <a:lvl3pPr marL="0" indent="0" algn="l">
              <a:spcAft>
                <a:spcPts val="600"/>
              </a:spcAft>
              <a:buFont typeface="DFDS Sans" panose="00000500000000000000" pitchFamily="2" charset="0"/>
              <a:buChar char="​"/>
              <a:defRPr sz="1600" b="0"/>
            </a:lvl3pPr>
            <a:lvl4pPr marL="0" indent="0" algn="l">
              <a:spcAft>
                <a:spcPts val="600"/>
              </a:spcAft>
              <a:buFont typeface="DFDS Sans" panose="00000500000000000000" pitchFamily="2" charset="0"/>
              <a:buChar char="​"/>
              <a:defRPr sz="1600" b="0"/>
            </a:lvl4pPr>
            <a:lvl5pPr marL="0" indent="0" algn="l">
              <a:spcAft>
                <a:spcPts val="600"/>
              </a:spcAft>
              <a:buFont typeface="DFDS Sans" panose="00000500000000000000" pitchFamily="2" charset="0"/>
              <a:buChar char="​"/>
              <a:defRPr sz="1600" b="0"/>
            </a:lvl5pPr>
            <a:lvl6pPr marL="0" indent="0" algn="l">
              <a:spcAft>
                <a:spcPts val="600"/>
              </a:spcAft>
              <a:buFont typeface="DFDS Sans" panose="00000500000000000000" pitchFamily="2" charset="0"/>
              <a:buChar char="​"/>
              <a:defRPr sz="1600" b="0"/>
            </a:lvl6pPr>
            <a:lvl7pPr marL="0" indent="0" algn="l">
              <a:spcAft>
                <a:spcPts val="600"/>
              </a:spcAft>
              <a:buFont typeface="DFDS Sans" panose="00000500000000000000" pitchFamily="2" charset="0"/>
              <a:buChar char="​"/>
              <a:defRPr sz="1600" b="0"/>
            </a:lvl7pPr>
            <a:lvl8pPr marL="0" indent="0" algn="l">
              <a:spcAft>
                <a:spcPts val="600"/>
              </a:spcAft>
              <a:buFont typeface="DFDS Sans" panose="00000500000000000000" pitchFamily="2" charset="0"/>
              <a:buChar char="​"/>
              <a:defRPr sz="1600" b="0"/>
            </a:lvl8pPr>
            <a:lvl9pPr marL="0" indent="0" algn="l">
              <a:spcAft>
                <a:spcPts val="600"/>
              </a:spcAft>
              <a:buFont typeface="DFDS Sans" panose="00000500000000000000" pitchFamily="2" charset="0"/>
              <a:buChar char="​"/>
              <a:defRPr sz="1600" b="0"/>
            </a:lvl9pPr>
          </a:lstStyle>
          <a:p>
            <a:r>
              <a:rPr lang="en-GB"/>
              <a:t>Click to add up to 2 lines of subtitle</a:t>
            </a:r>
          </a:p>
        </p:txBody>
      </p:sp>
      <p:sp>
        <p:nvSpPr>
          <p:cNvPr id="5" name="Picture Placeholder 4">
            <a:extLst>
              <a:ext uri="{FF2B5EF4-FFF2-40B4-BE49-F238E27FC236}">
                <a16:creationId xmlns:a16="http://schemas.microsoft.com/office/drawing/2014/main" id="{EBFE13BB-F3A4-3595-CBBC-7255F14B3FE3}"/>
              </a:ext>
            </a:extLst>
          </p:cNvPr>
          <p:cNvSpPr>
            <a:spLocks noGrp="1"/>
          </p:cNvSpPr>
          <p:nvPr>
            <p:ph type="pic" sz="quarter" idx="18"/>
          </p:nvPr>
        </p:nvSpPr>
        <p:spPr>
          <a:xfrm>
            <a:off x="6184900" y="0"/>
            <a:ext cx="6008300" cy="3429000"/>
          </a:xfrm>
          <a:custGeom>
            <a:avLst/>
            <a:gdLst>
              <a:gd name="connsiteX0" fmla="*/ 0 w 12195988"/>
              <a:gd name="connsiteY0" fmla="*/ 0 h 6858000"/>
              <a:gd name="connsiteX1" fmla="*/ 2788 w 12195988"/>
              <a:gd name="connsiteY1" fmla="*/ 0 h 6858000"/>
              <a:gd name="connsiteX2" fmla="*/ 12193200 w 12195988"/>
              <a:gd name="connsiteY2" fmla="*/ 0 h 6858000"/>
              <a:gd name="connsiteX3" fmla="*/ 12194788 w 12195988"/>
              <a:gd name="connsiteY3" fmla="*/ 0 h 6858000"/>
              <a:gd name="connsiteX4" fmla="*/ 12195988 w 12195988"/>
              <a:gd name="connsiteY4" fmla="*/ 0 h 6858000"/>
              <a:gd name="connsiteX5" fmla="*/ 12195988 w 12195988"/>
              <a:gd name="connsiteY5" fmla="*/ 6858000 h 6858000"/>
              <a:gd name="connsiteX6" fmla="*/ 12194788 w 12195988"/>
              <a:gd name="connsiteY6" fmla="*/ 6858000 h 6858000"/>
              <a:gd name="connsiteX7" fmla="*/ 12193200 w 12195988"/>
              <a:gd name="connsiteY7" fmla="*/ 6858000 h 6858000"/>
              <a:gd name="connsiteX8" fmla="*/ 2788 w 12195988"/>
              <a:gd name="connsiteY8" fmla="*/ 6858000 h 6858000"/>
              <a:gd name="connsiteX9" fmla="*/ 0 w 12195988"/>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5988" h="6858000">
                <a:moveTo>
                  <a:pt x="0" y="0"/>
                </a:moveTo>
                <a:lnTo>
                  <a:pt x="2788" y="0"/>
                </a:lnTo>
                <a:lnTo>
                  <a:pt x="12193200" y="0"/>
                </a:lnTo>
                <a:lnTo>
                  <a:pt x="12194788" y="0"/>
                </a:lnTo>
                <a:lnTo>
                  <a:pt x="12195988" y="0"/>
                </a:lnTo>
                <a:lnTo>
                  <a:pt x="12195988" y="6858000"/>
                </a:lnTo>
                <a:lnTo>
                  <a:pt x="12194788" y="6858000"/>
                </a:lnTo>
                <a:lnTo>
                  <a:pt x="12193200" y="6858000"/>
                </a:lnTo>
                <a:lnTo>
                  <a:pt x="2788" y="6858000"/>
                </a:lnTo>
                <a:lnTo>
                  <a:pt x="0" y="6858000"/>
                </a:lnTo>
                <a:close/>
              </a:path>
            </a:pathLst>
          </a:custGeom>
          <a:solidFill>
            <a:schemeClr val="bg1">
              <a:lumMod val="95000"/>
            </a:schemeClr>
          </a:solidFill>
        </p:spPr>
        <p:txBody>
          <a:bodyPr wrap="square" bIns="648000" anchor="ctr">
            <a:noAutofit/>
          </a:bodyPr>
          <a:lstStyle>
            <a:lvl1pPr marL="126000" indent="0" algn="ctr">
              <a:buNone/>
              <a:defRPr/>
            </a:lvl1pPr>
          </a:lstStyle>
          <a:p>
            <a:r>
              <a:rPr lang="en-GB"/>
              <a:t>Click icon to add picture</a:t>
            </a:r>
          </a:p>
        </p:txBody>
      </p:sp>
      <p:sp>
        <p:nvSpPr>
          <p:cNvPr id="12" name="Text Placeholder 11">
            <a:extLst>
              <a:ext uri="{FF2B5EF4-FFF2-40B4-BE49-F238E27FC236}">
                <a16:creationId xmlns:a16="http://schemas.microsoft.com/office/drawing/2014/main" id="{11069CFA-B87C-F66B-28AD-2BFAD69228D0}"/>
              </a:ext>
            </a:extLst>
          </p:cNvPr>
          <p:cNvSpPr>
            <a:spLocks noGrp="1"/>
          </p:cNvSpPr>
          <p:nvPr>
            <p:ph type="body" sz="quarter" idx="19" hasCustomPrompt="1"/>
          </p:nvPr>
        </p:nvSpPr>
        <p:spPr bwMode="white">
          <a:xfrm>
            <a:off x="6364900" y="3614250"/>
            <a:ext cx="5555638" cy="25262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a:t>Click to add text                                                                                                                                                                                                          Press ENTER then TAB to view next text style                                                                                                                                               Press SHIFT+TAB to view previous text style</a:t>
            </a:r>
          </a:p>
          <a:p>
            <a:pPr lvl="1"/>
            <a:r>
              <a:rPr lang="en-GB"/>
              <a:t>Second level</a:t>
            </a:r>
          </a:p>
          <a:p>
            <a:pPr lvl="2"/>
            <a:r>
              <a:rPr lang="en-GB"/>
              <a:t>Third level</a:t>
            </a:r>
          </a:p>
          <a:p>
            <a:pPr lvl="3"/>
            <a:r>
              <a:rPr lang="en-GB"/>
              <a:t>Fourth level</a:t>
            </a:r>
          </a:p>
          <a:p>
            <a:pPr lvl="4"/>
            <a:r>
              <a:rPr lang="en-GB"/>
              <a:t>Fifth level</a:t>
            </a:r>
          </a:p>
        </p:txBody>
      </p:sp>
      <p:sp>
        <p:nvSpPr>
          <p:cNvPr id="13" name="Footer logo">
            <a:extLst>
              <a:ext uri="{FF2B5EF4-FFF2-40B4-BE49-F238E27FC236}">
                <a16:creationId xmlns:a16="http://schemas.microsoft.com/office/drawing/2014/main" id="{0A41C788-C1ED-1BF9-427D-920861BE278D}"/>
              </a:ext>
            </a:extLst>
          </p:cNvPr>
          <p:cNvSpPr>
            <a:spLocks noChangeAspect="1"/>
          </p:cNvSpPr>
          <p:nvPr userDrawn="1"/>
        </p:nvSpPr>
        <p:spPr>
          <a:xfrm>
            <a:off x="11634124" y="6504694"/>
            <a:ext cx="288000" cy="81844"/>
          </a:xfrm>
          <a:custGeom>
            <a:avLst/>
            <a:gdLst>
              <a:gd name="connsiteX0" fmla="*/ 109963 w 193596"/>
              <a:gd name="connsiteY0" fmla="*/ 11125 h 55016"/>
              <a:gd name="connsiteX1" fmla="*/ 109963 w 193596"/>
              <a:gd name="connsiteY1" fmla="*/ 43891 h 55016"/>
              <a:gd name="connsiteX2" fmla="*/ 118345 w 193596"/>
              <a:gd name="connsiteY2" fmla="*/ 43891 h 55016"/>
              <a:gd name="connsiteX3" fmla="*/ 133356 w 193596"/>
              <a:gd name="connsiteY3" fmla="*/ 27356 h 55016"/>
              <a:gd name="connsiteX4" fmla="*/ 118421 w 193596"/>
              <a:gd name="connsiteY4" fmla="*/ 11125 h 55016"/>
              <a:gd name="connsiteX5" fmla="*/ 11811 w 193596"/>
              <a:gd name="connsiteY5" fmla="*/ 11125 h 55016"/>
              <a:gd name="connsiteX6" fmla="*/ 11811 w 193596"/>
              <a:gd name="connsiteY6" fmla="*/ 43891 h 55016"/>
              <a:gd name="connsiteX7" fmla="*/ 20193 w 193596"/>
              <a:gd name="connsiteY7" fmla="*/ 43891 h 55016"/>
              <a:gd name="connsiteX8" fmla="*/ 35204 w 193596"/>
              <a:gd name="connsiteY8" fmla="*/ 27356 h 55016"/>
              <a:gd name="connsiteX9" fmla="*/ 20269 w 193596"/>
              <a:gd name="connsiteY9" fmla="*/ 11125 h 55016"/>
              <a:gd name="connsiteX10" fmla="*/ 98152 w 193596"/>
              <a:gd name="connsiteY10" fmla="*/ 838 h 55016"/>
              <a:gd name="connsiteX11" fmla="*/ 119564 w 193596"/>
              <a:gd name="connsiteY11" fmla="*/ 838 h 55016"/>
              <a:gd name="connsiteX12" fmla="*/ 145396 w 193596"/>
              <a:gd name="connsiteY12" fmla="*/ 27356 h 55016"/>
              <a:gd name="connsiteX13" fmla="*/ 119564 w 193596"/>
              <a:gd name="connsiteY13" fmla="*/ 54178 h 55016"/>
              <a:gd name="connsiteX14" fmla="*/ 98152 w 193596"/>
              <a:gd name="connsiteY14" fmla="*/ 54178 h 55016"/>
              <a:gd name="connsiteX15" fmla="*/ 55438 w 193596"/>
              <a:gd name="connsiteY15" fmla="*/ 838 h 55016"/>
              <a:gd name="connsiteX16" fmla="*/ 89728 w 193596"/>
              <a:gd name="connsiteY16" fmla="*/ 838 h 55016"/>
              <a:gd name="connsiteX17" fmla="*/ 89728 w 193596"/>
              <a:gd name="connsiteY17" fmla="*/ 11049 h 55016"/>
              <a:gd name="connsiteX18" fmla="*/ 67249 w 193596"/>
              <a:gd name="connsiteY18" fmla="*/ 11049 h 55016"/>
              <a:gd name="connsiteX19" fmla="*/ 67249 w 193596"/>
              <a:gd name="connsiteY19" fmla="*/ 23774 h 55016"/>
              <a:gd name="connsiteX20" fmla="*/ 89042 w 193596"/>
              <a:gd name="connsiteY20" fmla="*/ 23774 h 55016"/>
              <a:gd name="connsiteX21" fmla="*/ 89042 w 193596"/>
              <a:gd name="connsiteY21" fmla="*/ 33909 h 55016"/>
              <a:gd name="connsiteX22" fmla="*/ 67249 w 193596"/>
              <a:gd name="connsiteY22" fmla="*/ 33909 h 55016"/>
              <a:gd name="connsiteX23" fmla="*/ 67249 w 193596"/>
              <a:gd name="connsiteY23" fmla="*/ 54178 h 55016"/>
              <a:gd name="connsiteX24" fmla="*/ 55438 w 193596"/>
              <a:gd name="connsiteY24" fmla="*/ 54178 h 55016"/>
              <a:gd name="connsiteX25" fmla="*/ 0 w 193596"/>
              <a:gd name="connsiteY25" fmla="*/ 838 h 55016"/>
              <a:gd name="connsiteX26" fmla="*/ 21412 w 193596"/>
              <a:gd name="connsiteY26" fmla="*/ 838 h 55016"/>
              <a:gd name="connsiteX27" fmla="*/ 47244 w 193596"/>
              <a:gd name="connsiteY27" fmla="*/ 27356 h 55016"/>
              <a:gd name="connsiteX28" fmla="*/ 21412 w 193596"/>
              <a:gd name="connsiteY28" fmla="*/ 54178 h 55016"/>
              <a:gd name="connsiteX29" fmla="*/ 0 w 193596"/>
              <a:gd name="connsiteY29" fmla="*/ 54178 h 55016"/>
              <a:gd name="connsiteX30" fmla="*/ 172031 w 193596"/>
              <a:gd name="connsiteY30" fmla="*/ 0 h 55016"/>
              <a:gd name="connsiteX31" fmla="*/ 192605 w 193596"/>
              <a:gd name="connsiteY31" fmla="*/ 16459 h 55016"/>
              <a:gd name="connsiteX32" fmla="*/ 180642 w 193596"/>
              <a:gd name="connsiteY32" fmla="*/ 16459 h 55016"/>
              <a:gd name="connsiteX33" fmla="*/ 172031 w 193596"/>
              <a:gd name="connsiteY33" fmla="*/ 9982 h 55016"/>
              <a:gd name="connsiteX34" fmla="*/ 163725 w 193596"/>
              <a:gd name="connsiteY34" fmla="*/ 15545 h 55016"/>
              <a:gd name="connsiteX35" fmla="*/ 170202 w 193596"/>
              <a:gd name="connsiteY35" fmla="*/ 20803 h 55016"/>
              <a:gd name="connsiteX36" fmla="*/ 178127 w 193596"/>
              <a:gd name="connsiteY36" fmla="*/ 22327 h 55016"/>
              <a:gd name="connsiteX37" fmla="*/ 193596 w 193596"/>
              <a:gd name="connsiteY37" fmla="*/ 38176 h 55016"/>
              <a:gd name="connsiteX38" fmla="*/ 172793 w 193596"/>
              <a:gd name="connsiteY38" fmla="*/ 55016 h 55016"/>
              <a:gd name="connsiteX39" fmla="*/ 151000 w 193596"/>
              <a:gd name="connsiteY39" fmla="*/ 37871 h 55016"/>
              <a:gd name="connsiteX40" fmla="*/ 162963 w 193596"/>
              <a:gd name="connsiteY40" fmla="*/ 37871 h 55016"/>
              <a:gd name="connsiteX41" fmla="*/ 172717 w 193596"/>
              <a:gd name="connsiteY41" fmla="*/ 45034 h 55016"/>
              <a:gd name="connsiteX42" fmla="*/ 181632 w 193596"/>
              <a:gd name="connsiteY42" fmla="*/ 38862 h 55016"/>
              <a:gd name="connsiteX43" fmla="*/ 174774 w 193596"/>
              <a:gd name="connsiteY43" fmla="*/ 32918 h 55016"/>
              <a:gd name="connsiteX44" fmla="*/ 167078 w 193596"/>
              <a:gd name="connsiteY44" fmla="*/ 31471 h 55016"/>
              <a:gd name="connsiteX45" fmla="*/ 151686 w 193596"/>
              <a:gd name="connsiteY45" fmla="*/ 16078 h 55016"/>
              <a:gd name="connsiteX46" fmla="*/ 172031 w 193596"/>
              <a:gd name="connsiteY46" fmla="*/ 0 h 55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3596" h="55016">
                <a:moveTo>
                  <a:pt x="109963" y="11125"/>
                </a:moveTo>
                <a:lnTo>
                  <a:pt x="109963" y="43891"/>
                </a:lnTo>
                <a:lnTo>
                  <a:pt x="118345" y="43891"/>
                </a:lnTo>
                <a:cubicBezTo>
                  <a:pt x="126498" y="43891"/>
                  <a:pt x="133356" y="38786"/>
                  <a:pt x="133356" y="27356"/>
                </a:cubicBezTo>
                <a:cubicBezTo>
                  <a:pt x="133356" y="16611"/>
                  <a:pt x="127032" y="11125"/>
                  <a:pt x="118421" y="11125"/>
                </a:cubicBezTo>
                <a:close/>
                <a:moveTo>
                  <a:pt x="11811" y="11125"/>
                </a:moveTo>
                <a:lnTo>
                  <a:pt x="11811" y="43891"/>
                </a:lnTo>
                <a:lnTo>
                  <a:pt x="20193" y="43891"/>
                </a:lnTo>
                <a:cubicBezTo>
                  <a:pt x="28346" y="43891"/>
                  <a:pt x="35204" y="38786"/>
                  <a:pt x="35204" y="27356"/>
                </a:cubicBezTo>
                <a:cubicBezTo>
                  <a:pt x="35204" y="16611"/>
                  <a:pt x="28880" y="11125"/>
                  <a:pt x="20269" y="11125"/>
                </a:cubicBezTo>
                <a:close/>
                <a:moveTo>
                  <a:pt x="98152" y="838"/>
                </a:moveTo>
                <a:lnTo>
                  <a:pt x="119564" y="838"/>
                </a:lnTo>
                <a:cubicBezTo>
                  <a:pt x="135338" y="838"/>
                  <a:pt x="145396" y="11582"/>
                  <a:pt x="145396" y="27356"/>
                </a:cubicBezTo>
                <a:cubicBezTo>
                  <a:pt x="145396" y="43434"/>
                  <a:pt x="135338" y="54178"/>
                  <a:pt x="119564" y="54178"/>
                </a:cubicBezTo>
                <a:lnTo>
                  <a:pt x="98152" y="54178"/>
                </a:lnTo>
                <a:close/>
                <a:moveTo>
                  <a:pt x="55438" y="838"/>
                </a:moveTo>
                <a:lnTo>
                  <a:pt x="89728" y="838"/>
                </a:lnTo>
                <a:lnTo>
                  <a:pt x="89728" y="11049"/>
                </a:lnTo>
                <a:lnTo>
                  <a:pt x="67249" y="11049"/>
                </a:lnTo>
                <a:lnTo>
                  <a:pt x="67249" y="23774"/>
                </a:lnTo>
                <a:lnTo>
                  <a:pt x="89042" y="23774"/>
                </a:lnTo>
                <a:lnTo>
                  <a:pt x="89042" y="33909"/>
                </a:lnTo>
                <a:lnTo>
                  <a:pt x="67249" y="33909"/>
                </a:lnTo>
                <a:lnTo>
                  <a:pt x="67249" y="54178"/>
                </a:lnTo>
                <a:lnTo>
                  <a:pt x="55438" y="54178"/>
                </a:lnTo>
                <a:close/>
                <a:moveTo>
                  <a:pt x="0" y="838"/>
                </a:moveTo>
                <a:lnTo>
                  <a:pt x="21412" y="838"/>
                </a:lnTo>
                <a:cubicBezTo>
                  <a:pt x="37186" y="838"/>
                  <a:pt x="47244" y="11582"/>
                  <a:pt x="47244" y="27356"/>
                </a:cubicBezTo>
                <a:cubicBezTo>
                  <a:pt x="47244" y="43434"/>
                  <a:pt x="37186" y="54178"/>
                  <a:pt x="21412" y="54178"/>
                </a:cubicBezTo>
                <a:lnTo>
                  <a:pt x="0" y="54178"/>
                </a:lnTo>
                <a:close/>
                <a:moveTo>
                  <a:pt x="172031" y="0"/>
                </a:moveTo>
                <a:cubicBezTo>
                  <a:pt x="183614" y="0"/>
                  <a:pt x="191538" y="6629"/>
                  <a:pt x="192605" y="16459"/>
                </a:cubicBezTo>
                <a:lnTo>
                  <a:pt x="180642" y="16459"/>
                </a:lnTo>
                <a:cubicBezTo>
                  <a:pt x="179727" y="12421"/>
                  <a:pt x="177213" y="9982"/>
                  <a:pt x="172031" y="9982"/>
                </a:cubicBezTo>
                <a:cubicBezTo>
                  <a:pt x="167764" y="9982"/>
                  <a:pt x="163725" y="11659"/>
                  <a:pt x="163725" y="15545"/>
                </a:cubicBezTo>
                <a:cubicBezTo>
                  <a:pt x="163725" y="18517"/>
                  <a:pt x="166164" y="19964"/>
                  <a:pt x="170202" y="20803"/>
                </a:cubicBezTo>
                <a:lnTo>
                  <a:pt x="178127" y="22327"/>
                </a:lnTo>
                <a:cubicBezTo>
                  <a:pt x="187805" y="24155"/>
                  <a:pt x="193596" y="29489"/>
                  <a:pt x="193596" y="38176"/>
                </a:cubicBezTo>
                <a:cubicBezTo>
                  <a:pt x="193596" y="49454"/>
                  <a:pt x="183842" y="55016"/>
                  <a:pt x="172793" y="55016"/>
                </a:cubicBezTo>
                <a:cubicBezTo>
                  <a:pt x="159839" y="55016"/>
                  <a:pt x="152219" y="47701"/>
                  <a:pt x="151000" y="37871"/>
                </a:cubicBezTo>
                <a:lnTo>
                  <a:pt x="162963" y="37871"/>
                </a:lnTo>
                <a:cubicBezTo>
                  <a:pt x="163649" y="42367"/>
                  <a:pt x="167383" y="45034"/>
                  <a:pt x="172717" y="45034"/>
                </a:cubicBezTo>
                <a:cubicBezTo>
                  <a:pt x="177365" y="45034"/>
                  <a:pt x="181632" y="43053"/>
                  <a:pt x="181632" y="38862"/>
                </a:cubicBezTo>
                <a:cubicBezTo>
                  <a:pt x="181632" y="35738"/>
                  <a:pt x="179194" y="33757"/>
                  <a:pt x="174774" y="32918"/>
                </a:cubicBezTo>
                <a:lnTo>
                  <a:pt x="167078" y="31471"/>
                </a:lnTo>
                <a:cubicBezTo>
                  <a:pt x="158010" y="29947"/>
                  <a:pt x="151686" y="24841"/>
                  <a:pt x="151686" y="16078"/>
                </a:cubicBezTo>
                <a:cubicBezTo>
                  <a:pt x="151686" y="5105"/>
                  <a:pt x="161820" y="0"/>
                  <a:pt x="172031" y="0"/>
                </a:cubicBezTo>
                <a:close/>
              </a:path>
            </a:pathLst>
          </a:custGeom>
          <a:solidFill>
            <a:schemeClr val="bg1"/>
          </a:solidFill>
          <a:ln w="9525" cap="flat">
            <a:noFill/>
            <a:prstDash val="solid"/>
            <a:miter/>
          </a:ln>
        </p:spPr>
        <p:txBody>
          <a:bodyPr rtlCol="0" anchor="ctr"/>
          <a:lstStyle/>
          <a:p>
            <a:endParaRPr lang="en-GB"/>
          </a:p>
        </p:txBody>
      </p:sp>
    </p:spTree>
    <p:extLst>
      <p:ext uri="{BB962C8B-B14F-4D97-AF65-F5344CB8AC3E}">
        <p14:creationId xmlns:p14="http://schemas.microsoft.com/office/powerpoint/2010/main" val="162753779"/>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icture, Content and Text B">
    <p:spTree>
      <p:nvGrpSpPr>
        <p:cNvPr id="1" name=""/>
        <p:cNvGrpSpPr/>
        <p:nvPr/>
      </p:nvGrpSpPr>
      <p:grpSpPr>
        <a:xfrm>
          <a:off x="0" y="0"/>
          <a:ext cx="0" cy="0"/>
          <a:chOff x="0" y="0"/>
          <a:chExt cx="0" cy="0"/>
        </a:xfrm>
      </p:grpSpPr>
      <p:sp>
        <p:nvSpPr>
          <p:cNvPr id="4" name="Background">
            <a:extLst>
              <a:ext uri="{FF2B5EF4-FFF2-40B4-BE49-F238E27FC236}">
                <a16:creationId xmlns:a16="http://schemas.microsoft.com/office/drawing/2014/main" id="{A3B5C54A-82A2-E829-2CF5-5766A67CAB8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 name="Picture Placeholder 4">
            <a:extLst>
              <a:ext uri="{FF2B5EF4-FFF2-40B4-BE49-F238E27FC236}">
                <a16:creationId xmlns:a16="http://schemas.microsoft.com/office/drawing/2014/main" id="{EBFE13BB-F3A4-3595-CBBC-7255F14B3FE3}"/>
              </a:ext>
            </a:extLst>
          </p:cNvPr>
          <p:cNvSpPr>
            <a:spLocks noGrp="1"/>
          </p:cNvSpPr>
          <p:nvPr>
            <p:ph type="pic" sz="quarter" idx="18"/>
          </p:nvPr>
        </p:nvSpPr>
        <p:spPr>
          <a:xfrm>
            <a:off x="0" y="0"/>
            <a:ext cx="6184900" cy="6858000"/>
          </a:xfrm>
          <a:custGeom>
            <a:avLst/>
            <a:gdLst>
              <a:gd name="connsiteX0" fmla="*/ 0 w 12195988"/>
              <a:gd name="connsiteY0" fmla="*/ 0 h 6858000"/>
              <a:gd name="connsiteX1" fmla="*/ 2788 w 12195988"/>
              <a:gd name="connsiteY1" fmla="*/ 0 h 6858000"/>
              <a:gd name="connsiteX2" fmla="*/ 12193200 w 12195988"/>
              <a:gd name="connsiteY2" fmla="*/ 0 h 6858000"/>
              <a:gd name="connsiteX3" fmla="*/ 12194788 w 12195988"/>
              <a:gd name="connsiteY3" fmla="*/ 0 h 6858000"/>
              <a:gd name="connsiteX4" fmla="*/ 12195988 w 12195988"/>
              <a:gd name="connsiteY4" fmla="*/ 0 h 6858000"/>
              <a:gd name="connsiteX5" fmla="*/ 12195988 w 12195988"/>
              <a:gd name="connsiteY5" fmla="*/ 6858000 h 6858000"/>
              <a:gd name="connsiteX6" fmla="*/ 12194788 w 12195988"/>
              <a:gd name="connsiteY6" fmla="*/ 6858000 h 6858000"/>
              <a:gd name="connsiteX7" fmla="*/ 12193200 w 12195988"/>
              <a:gd name="connsiteY7" fmla="*/ 6858000 h 6858000"/>
              <a:gd name="connsiteX8" fmla="*/ 2788 w 12195988"/>
              <a:gd name="connsiteY8" fmla="*/ 6858000 h 6858000"/>
              <a:gd name="connsiteX9" fmla="*/ 0 w 12195988"/>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5988" h="6858000">
                <a:moveTo>
                  <a:pt x="0" y="0"/>
                </a:moveTo>
                <a:lnTo>
                  <a:pt x="2788" y="0"/>
                </a:lnTo>
                <a:lnTo>
                  <a:pt x="12193200" y="0"/>
                </a:lnTo>
                <a:lnTo>
                  <a:pt x="12194788" y="0"/>
                </a:lnTo>
                <a:lnTo>
                  <a:pt x="12195988" y="0"/>
                </a:lnTo>
                <a:lnTo>
                  <a:pt x="12195988" y="6858000"/>
                </a:lnTo>
                <a:lnTo>
                  <a:pt x="12194788" y="6858000"/>
                </a:lnTo>
                <a:lnTo>
                  <a:pt x="12193200" y="6858000"/>
                </a:lnTo>
                <a:lnTo>
                  <a:pt x="2788" y="6858000"/>
                </a:lnTo>
                <a:lnTo>
                  <a:pt x="0" y="6858000"/>
                </a:lnTo>
                <a:close/>
              </a:path>
            </a:pathLst>
          </a:custGeom>
          <a:solidFill>
            <a:schemeClr val="bg1">
              <a:lumMod val="95000"/>
            </a:schemeClr>
          </a:solidFill>
        </p:spPr>
        <p:txBody>
          <a:bodyPr wrap="square" bIns="648000" anchor="ctr">
            <a:noAutofit/>
          </a:bodyPr>
          <a:lstStyle>
            <a:lvl1pPr marL="126000" indent="0" algn="ctr">
              <a:buNone/>
              <a:defRPr/>
            </a:lvl1pPr>
          </a:lstStyle>
          <a:p>
            <a:r>
              <a:rPr lang="en-GB"/>
              <a:t>Click icon to add picture</a:t>
            </a:r>
          </a:p>
        </p:txBody>
      </p:sp>
      <p:sp>
        <p:nvSpPr>
          <p:cNvPr id="6" name="Rectangle 5">
            <a:extLst>
              <a:ext uri="{FF2B5EF4-FFF2-40B4-BE49-F238E27FC236}">
                <a16:creationId xmlns:a16="http://schemas.microsoft.com/office/drawing/2014/main" id="{436549EF-D8DF-B973-C035-E2B1BF60BE21}"/>
              </a:ext>
            </a:extLst>
          </p:cNvPr>
          <p:cNvSpPr/>
          <p:nvPr userDrawn="1"/>
        </p:nvSpPr>
        <p:spPr>
          <a:xfrm>
            <a:off x="6185500" y="3429000"/>
            <a:ext cx="6007100" cy="3429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3" name="Content Placeholder 2"/>
          <p:cNvSpPr>
            <a:spLocks noGrp="1"/>
          </p:cNvSpPr>
          <p:nvPr>
            <p:ph idx="1" hasCustomPrompt="1"/>
          </p:nvPr>
        </p:nvSpPr>
        <p:spPr>
          <a:xfrm>
            <a:off x="6364899" y="271462"/>
            <a:ext cx="5555639" cy="2977538"/>
          </a:xfrm>
        </p:spPr>
        <p:txBody>
          <a:bodyPr/>
          <a:lstStyle>
            <a:lvl1pPr>
              <a:defRPr/>
            </a:lvl1pPr>
            <a:lvl5pPr>
              <a:defRPr/>
            </a:lvl5pPr>
            <a:lvl6pPr>
              <a:defRPr/>
            </a:lvl6pPr>
            <a:lvl7pPr>
              <a:defRPr/>
            </a:lvl7pPr>
            <a:lvl8pPr>
              <a:defRPr/>
            </a:lvl8pPr>
            <a:lvl9pPr>
              <a:defRPr/>
            </a:lvl9pPr>
          </a:lstStyle>
          <a:p>
            <a:pPr lvl="0"/>
            <a:r>
              <a:rPr lang="en-GB" noProof="0"/>
              <a:t>Click to add text                                                                                                                                                                                                          Press ENTER then TAB to view next text style                                                                                                                                               Press SHIFT+TAB to view previous text style</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 level</a:t>
            </a:r>
          </a:p>
          <a:p>
            <a:pPr lvl="6"/>
            <a:r>
              <a:rPr lang="en-GB" noProof="0"/>
              <a:t>7 level</a:t>
            </a:r>
          </a:p>
          <a:p>
            <a:pPr lvl="7"/>
            <a:r>
              <a:rPr lang="en-GB" noProof="0"/>
              <a:t>8 level</a:t>
            </a:r>
          </a:p>
          <a:p>
            <a:pPr lvl="8"/>
            <a:r>
              <a:rPr lang="en-GB" noProof="0"/>
              <a:t>9 level</a:t>
            </a:r>
          </a:p>
        </p:txBody>
      </p:sp>
      <p:sp>
        <p:nvSpPr>
          <p:cNvPr id="7" name="Date Placeholder 6">
            <a:extLst>
              <a:ext uri="{FF2B5EF4-FFF2-40B4-BE49-F238E27FC236}">
                <a16:creationId xmlns:a16="http://schemas.microsoft.com/office/drawing/2014/main" id="{14D980D4-A6FE-48C4-3FB4-A170F1DD3EFA}"/>
              </a:ext>
            </a:extLst>
          </p:cNvPr>
          <p:cNvSpPr>
            <a:spLocks noGrp="1"/>
          </p:cNvSpPr>
          <p:nvPr>
            <p:ph type="dt" sz="half" idx="10"/>
          </p:nvPr>
        </p:nvSpPr>
        <p:spPr>
          <a:xfrm>
            <a:off x="0" y="6858000"/>
            <a:ext cx="0" cy="0"/>
          </a:xfrm>
          <a:prstGeom prst="rect">
            <a:avLst/>
          </a:prstGeom>
        </p:spPr>
        <p:txBody>
          <a:bodyPr/>
          <a:lstStyle>
            <a:lvl1pPr>
              <a:defRPr sz="100">
                <a:noFill/>
              </a:defRPr>
            </a:lvl1pPr>
          </a:lstStyle>
          <a:p>
            <a:fld id="{3BE075A8-1947-43D3-ABE8-F2624F2450E0}" type="datetime4">
              <a:rPr lang="en-GB" smtClean="0"/>
              <a:t>20 February 2025</a:t>
            </a:fld>
            <a:endParaRPr lang="en-GB"/>
          </a:p>
        </p:txBody>
      </p:sp>
      <p:sp>
        <p:nvSpPr>
          <p:cNvPr id="8" name="Footer Placeholder 7">
            <a:extLst>
              <a:ext uri="{FF2B5EF4-FFF2-40B4-BE49-F238E27FC236}">
                <a16:creationId xmlns:a16="http://schemas.microsoft.com/office/drawing/2014/main" id="{09C9C598-2ADD-7AAD-BC20-214AE14F332E}"/>
              </a:ext>
            </a:extLst>
          </p:cNvPr>
          <p:cNvSpPr>
            <a:spLocks noGrp="1"/>
          </p:cNvSpPr>
          <p:nvPr>
            <p:ph type="ftr" sz="quarter" idx="11"/>
          </p:nvPr>
        </p:nvSpPr>
        <p:spPr bwMode="white">
          <a:xfrm>
            <a:off x="1750218" y="6431280"/>
            <a:ext cx="4255295" cy="180000"/>
          </a:xfrm>
        </p:spPr>
        <p:txBody>
          <a:bodyPr tIns="126000"/>
          <a:lstStyle/>
          <a:p>
            <a:endParaRPr lang="en-GB"/>
          </a:p>
        </p:txBody>
      </p:sp>
      <p:sp>
        <p:nvSpPr>
          <p:cNvPr id="9" name="Slide Number Placeholder 8">
            <a:extLst>
              <a:ext uri="{FF2B5EF4-FFF2-40B4-BE49-F238E27FC236}">
                <a16:creationId xmlns:a16="http://schemas.microsoft.com/office/drawing/2014/main" id="{338DCD92-64F9-6FD5-F0BC-D1B2259B4E48}"/>
              </a:ext>
            </a:extLst>
          </p:cNvPr>
          <p:cNvSpPr>
            <a:spLocks noGrp="1"/>
          </p:cNvSpPr>
          <p:nvPr>
            <p:ph type="sldNum" sz="quarter" idx="12"/>
          </p:nvPr>
        </p:nvSpPr>
        <p:spPr bwMode="white"/>
        <p:txBody>
          <a:bodyPr tIns="126000"/>
          <a:lstStyle/>
          <a:p>
            <a:fld id="{23AA811B-2EBD-4900-905E-5BE206449611}" type="slidenum">
              <a:rPr lang="en-GB" smtClean="0"/>
              <a:pPr/>
              <a:t>‹#›</a:t>
            </a:fld>
            <a:endParaRPr lang="en-GB"/>
          </a:p>
        </p:txBody>
      </p:sp>
      <p:sp>
        <p:nvSpPr>
          <p:cNvPr id="12" name="Text Placeholder 11">
            <a:extLst>
              <a:ext uri="{FF2B5EF4-FFF2-40B4-BE49-F238E27FC236}">
                <a16:creationId xmlns:a16="http://schemas.microsoft.com/office/drawing/2014/main" id="{11069CFA-B87C-F66B-28AD-2BFAD69228D0}"/>
              </a:ext>
            </a:extLst>
          </p:cNvPr>
          <p:cNvSpPr>
            <a:spLocks noGrp="1"/>
          </p:cNvSpPr>
          <p:nvPr>
            <p:ph type="body" sz="quarter" idx="19" hasCustomPrompt="1"/>
          </p:nvPr>
        </p:nvSpPr>
        <p:spPr bwMode="white">
          <a:xfrm>
            <a:off x="6364900" y="3614250"/>
            <a:ext cx="5555638" cy="25262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a:t>Click to add text                                                                                                                                                                                                          Press ENTER then TAB to view next text style                                                                                                                                               Press SHIFT+TAB to view previous text style</a:t>
            </a:r>
          </a:p>
          <a:p>
            <a:pPr lvl="1"/>
            <a:r>
              <a:rPr lang="en-GB"/>
              <a:t>Second level</a:t>
            </a:r>
          </a:p>
          <a:p>
            <a:pPr lvl="2"/>
            <a:r>
              <a:rPr lang="en-GB"/>
              <a:t>Third level</a:t>
            </a:r>
          </a:p>
          <a:p>
            <a:pPr lvl="3"/>
            <a:r>
              <a:rPr lang="en-GB"/>
              <a:t>Fourth level</a:t>
            </a:r>
          </a:p>
          <a:p>
            <a:pPr lvl="4"/>
            <a:r>
              <a:rPr lang="en-GB"/>
              <a:t>Fifth level</a:t>
            </a:r>
          </a:p>
        </p:txBody>
      </p:sp>
      <p:sp>
        <p:nvSpPr>
          <p:cNvPr id="10" name="Footer logo">
            <a:extLst>
              <a:ext uri="{FF2B5EF4-FFF2-40B4-BE49-F238E27FC236}">
                <a16:creationId xmlns:a16="http://schemas.microsoft.com/office/drawing/2014/main" id="{836FD16D-78D5-3124-0188-CA35289AEC03}"/>
              </a:ext>
            </a:extLst>
          </p:cNvPr>
          <p:cNvSpPr>
            <a:spLocks noChangeAspect="1"/>
          </p:cNvSpPr>
          <p:nvPr userDrawn="1"/>
        </p:nvSpPr>
        <p:spPr>
          <a:xfrm>
            <a:off x="11634124" y="6504694"/>
            <a:ext cx="288000" cy="81844"/>
          </a:xfrm>
          <a:custGeom>
            <a:avLst/>
            <a:gdLst>
              <a:gd name="connsiteX0" fmla="*/ 109963 w 193596"/>
              <a:gd name="connsiteY0" fmla="*/ 11125 h 55016"/>
              <a:gd name="connsiteX1" fmla="*/ 109963 w 193596"/>
              <a:gd name="connsiteY1" fmla="*/ 43891 h 55016"/>
              <a:gd name="connsiteX2" fmla="*/ 118345 w 193596"/>
              <a:gd name="connsiteY2" fmla="*/ 43891 h 55016"/>
              <a:gd name="connsiteX3" fmla="*/ 133356 w 193596"/>
              <a:gd name="connsiteY3" fmla="*/ 27356 h 55016"/>
              <a:gd name="connsiteX4" fmla="*/ 118421 w 193596"/>
              <a:gd name="connsiteY4" fmla="*/ 11125 h 55016"/>
              <a:gd name="connsiteX5" fmla="*/ 11811 w 193596"/>
              <a:gd name="connsiteY5" fmla="*/ 11125 h 55016"/>
              <a:gd name="connsiteX6" fmla="*/ 11811 w 193596"/>
              <a:gd name="connsiteY6" fmla="*/ 43891 h 55016"/>
              <a:gd name="connsiteX7" fmla="*/ 20193 w 193596"/>
              <a:gd name="connsiteY7" fmla="*/ 43891 h 55016"/>
              <a:gd name="connsiteX8" fmla="*/ 35204 w 193596"/>
              <a:gd name="connsiteY8" fmla="*/ 27356 h 55016"/>
              <a:gd name="connsiteX9" fmla="*/ 20269 w 193596"/>
              <a:gd name="connsiteY9" fmla="*/ 11125 h 55016"/>
              <a:gd name="connsiteX10" fmla="*/ 98152 w 193596"/>
              <a:gd name="connsiteY10" fmla="*/ 838 h 55016"/>
              <a:gd name="connsiteX11" fmla="*/ 119564 w 193596"/>
              <a:gd name="connsiteY11" fmla="*/ 838 h 55016"/>
              <a:gd name="connsiteX12" fmla="*/ 145396 w 193596"/>
              <a:gd name="connsiteY12" fmla="*/ 27356 h 55016"/>
              <a:gd name="connsiteX13" fmla="*/ 119564 w 193596"/>
              <a:gd name="connsiteY13" fmla="*/ 54178 h 55016"/>
              <a:gd name="connsiteX14" fmla="*/ 98152 w 193596"/>
              <a:gd name="connsiteY14" fmla="*/ 54178 h 55016"/>
              <a:gd name="connsiteX15" fmla="*/ 55438 w 193596"/>
              <a:gd name="connsiteY15" fmla="*/ 838 h 55016"/>
              <a:gd name="connsiteX16" fmla="*/ 89728 w 193596"/>
              <a:gd name="connsiteY16" fmla="*/ 838 h 55016"/>
              <a:gd name="connsiteX17" fmla="*/ 89728 w 193596"/>
              <a:gd name="connsiteY17" fmla="*/ 11049 h 55016"/>
              <a:gd name="connsiteX18" fmla="*/ 67249 w 193596"/>
              <a:gd name="connsiteY18" fmla="*/ 11049 h 55016"/>
              <a:gd name="connsiteX19" fmla="*/ 67249 w 193596"/>
              <a:gd name="connsiteY19" fmla="*/ 23774 h 55016"/>
              <a:gd name="connsiteX20" fmla="*/ 89042 w 193596"/>
              <a:gd name="connsiteY20" fmla="*/ 23774 h 55016"/>
              <a:gd name="connsiteX21" fmla="*/ 89042 w 193596"/>
              <a:gd name="connsiteY21" fmla="*/ 33909 h 55016"/>
              <a:gd name="connsiteX22" fmla="*/ 67249 w 193596"/>
              <a:gd name="connsiteY22" fmla="*/ 33909 h 55016"/>
              <a:gd name="connsiteX23" fmla="*/ 67249 w 193596"/>
              <a:gd name="connsiteY23" fmla="*/ 54178 h 55016"/>
              <a:gd name="connsiteX24" fmla="*/ 55438 w 193596"/>
              <a:gd name="connsiteY24" fmla="*/ 54178 h 55016"/>
              <a:gd name="connsiteX25" fmla="*/ 0 w 193596"/>
              <a:gd name="connsiteY25" fmla="*/ 838 h 55016"/>
              <a:gd name="connsiteX26" fmla="*/ 21412 w 193596"/>
              <a:gd name="connsiteY26" fmla="*/ 838 h 55016"/>
              <a:gd name="connsiteX27" fmla="*/ 47244 w 193596"/>
              <a:gd name="connsiteY27" fmla="*/ 27356 h 55016"/>
              <a:gd name="connsiteX28" fmla="*/ 21412 w 193596"/>
              <a:gd name="connsiteY28" fmla="*/ 54178 h 55016"/>
              <a:gd name="connsiteX29" fmla="*/ 0 w 193596"/>
              <a:gd name="connsiteY29" fmla="*/ 54178 h 55016"/>
              <a:gd name="connsiteX30" fmla="*/ 172031 w 193596"/>
              <a:gd name="connsiteY30" fmla="*/ 0 h 55016"/>
              <a:gd name="connsiteX31" fmla="*/ 192605 w 193596"/>
              <a:gd name="connsiteY31" fmla="*/ 16459 h 55016"/>
              <a:gd name="connsiteX32" fmla="*/ 180642 w 193596"/>
              <a:gd name="connsiteY32" fmla="*/ 16459 h 55016"/>
              <a:gd name="connsiteX33" fmla="*/ 172031 w 193596"/>
              <a:gd name="connsiteY33" fmla="*/ 9982 h 55016"/>
              <a:gd name="connsiteX34" fmla="*/ 163725 w 193596"/>
              <a:gd name="connsiteY34" fmla="*/ 15545 h 55016"/>
              <a:gd name="connsiteX35" fmla="*/ 170202 w 193596"/>
              <a:gd name="connsiteY35" fmla="*/ 20803 h 55016"/>
              <a:gd name="connsiteX36" fmla="*/ 178127 w 193596"/>
              <a:gd name="connsiteY36" fmla="*/ 22327 h 55016"/>
              <a:gd name="connsiteX37" fmla="*/ 193596 w 193596"/>
              <a:gd name="connsiteY37" fmla="*/ 38176 h 55016"/>
              <a:gd name="connsiteX38" fmla="*/ 172793 w 193596"/>
              <a:gd name="connsiteY38" fmla="*/ 55016 h 55016"/>
              <a:gd name="connsiteX39" fmla="*/ 151000 w 193596"/>
              <a:gd name="connsiteY39" fmla="*/ 37871 h 55016"/>
              <a:gd name="connsiteX40" fmla="*/ 162963 w 193596"/>
              <a:gd name="connsiteY40" fmla="*/ 37871 h 55016"/>
              <a:gd name="connsiteX41" fmla="*/ 172717 w 193596"/>
              <a:gd name="connsiteY41" fmla="*/ 45034 h 55016"/>
              <a:gd name="connsiteX42" fmla="*/ 181632 w 193596"/>
              <a:gd name="connsiteY42" fmla="*/ 38862 h 55016"/>
              <a:gd name="connsiteX43" fmla="*/ 174774 w 193596"/>
              <a:gd name="connsiteY43" fmla="*/ 32918 h 55016"/>
              <a:gd name="connsiteX44" fmla="*/ 167078 w 193596"/>
              <a:gd name="connsiteY44" fmla="*/ 31471 h 55016"/>
              <a:gd name="connsiteX45" fmla="*/ 151686 w 193596"/>
              <a:gd name="connsiteY45" fmla="*/ 16078 h 55016"/>
              <a:gd name="connsiteX46" fmla="*/ 172031 w 193596"/>
              <a:gd name="connsiteY46" fmla="*/ 0 h 55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3596" h="55016">
                <a:moveTo>
                  <a:pt x="109963" y="11125"/>
                </a:moveTo>
                <a:lnTo>
                  <a:pt x="109963" y="43891"/>
                </a:lnTo>
                <a:lnTo>
                  <a:pt x="118345" y="43891"/>
                </a:lnTo>
                <a:cubicBezTo>
                  <a:pt x="126498" y="43891"/>
                  <a:pt x="133356" y="38786"/>
                  <a:pt x="133356" y="27356"/>
                </a:cubicBezTo>
                <a:cubicBezTo>
                  <a:pt x="133356" y="16611"/>
                  <a:pt x="127032" y="11125"/>
                  <a:pt x="118421" y="11125"/>
                </a:cubicBezTo>
                <a:close/>
                <a:moveTo>
                  <a:pt x="11811" y="11125"/>
                </a:moveTo>
                <a:lnTo>
                  <a:pt x="11811" y="43891"/>
                </a:lnTo>
                <a:lnTo>
                  <a:pt x="20193" y="43891"/>
                </a:lnTo>
                <a:cubicBezTo>
                  <a:pt x="28346" y="43891"/>
                  <a:pt x="35204" y="38786"/>
                  <a:pt x="35204" y="27356"/>
                </a:cubicBezTo>
                <a:cubicBezTo>
                  <a:pt x="35204" y="16611"/>
                  <a:pt x="28880" y="11125"/>
                  <a:pt x="20269" y="11125"/>
                </a:cubicBezTo>
                <a:close/>
                <a:moveTo>
                  <a:pt x="98152" y="838"/>
                </a:moveTo>
                <a:lnTo>
                  <a:pt x="119564" y="838"/>
                </a:lnTo>
                <a:cubicBezTo>
                  <a:pt x="135338" y="838"/>
                  <a:pt x="145396" y="11582"/>
                  <a:pt x="145396" y="27356"/>
                </a:cubicBezTo>
                <a:cubicBezTo>
                  <a:pt x="145396" y="43434"/>
                  <a:pt x="135338" y="54178"/>
                  <a:pt x="119564" y="54178"/>
                </a:cubicBezTo>
                <a:lnTo>
                  <a:pt x="98152" y="54178"/>
                </a:lnTo>
                <a:close/>
                <a:moveTo>
                  <a:pt x="55438" y="838"/>
                </a:moveTo>
                <a:lnTo>
                  <a:pt x="89728" y="838"/>
                </a:lnTo>
                <a:lnTo>
                  <a:pt x="89728" y="11049"/>
                </a:lnTo>
                <a:lnTo>
                  <a:pt x="67249" y="11049"/>
                </a:lnTo>
                <a:lnTo>
                  <a:pt x="67249" y="23774"/>
                </a:lnTo>
                <a:lnTo>
                  <a:pt x="89042" y="23774"/>
                </a:lnTo>
                <a:lnTo>
                  <a:pt x="89042" y="33909"/>
                </a:lnTo>
                <a:lnTo>
                  <a:pt x="67249" y="33909"/>
                </a:lnTo>
                <a:lnTo>
                  <a:pt x="67249" y="54178"/>
                </a:lnTo>
                <a:lnTo>
                  <a:pt x="55438" y="54178"/>
                </a:lnTo>
                <a:close/>
                <a:moveTo>
                  <a:pt x="0" y="838"/>
                </a:moveTo>
                <a:lnTo>
                  <a:pt x="21412" y="838"/>
                </a:lnTo>
                <a:cubicBezTo>
                  <a:pt x="37186" y="838"/>
                  <a:pt x="47244" y="11582"/>
                  <a:pt x="47244" y="27356"/>
                </a:cubicBezTo>
                <a:cubicBezTo>
                  <a:pt x="47244" y="43434"/>
                  <a:pt x="37186" y="54178"/>
                  <a:pt x="21412" y="54178"/>
                </a:cubicBezTo>
                <a:lnTo>
                  <a:pt x="0" y="54178"/>
                </a:lnTo>
                <a:close/>
                <a:moveTo>
                  <a:pt x="172031" y="0"/>
                </a:moveTo>
                <a:cubicBezTo>
                  <a:pt x="183614" y="0"/>
                  <a:pt x="191538" y="6629"/>
                  <a:pt x="192605" y="16459"/>
                </a:cubicBezTo>
                <a:lnTo>
                  <a:pt x="180642" y="16459"/>
                </a:lnTo>
                <a:cubicBezTo>
                  <a:pt x="179727" y="12421"/>
                  <a:pt x="177213" y="9982"/>
                  <a:pt x="172031" y="9982"/>
                </a:cubicBezTo>
                <a:cubicBezTo>
                  <a:pt x="167764" y="9982"/>
                  <a:pt x="163725" y="11659"/>
                  <a:pt x="163725" y="15545"/>
                </a:cubicBezTo>
                <a:cubicBezTo>
                  <a:pt x="163725" y="18517"/>
                  <a:pt x="166164" y="19964"/>
                  <a:pt x="170202" y="20803"/>
                </a:cubicBezTo>
                <a:lnTo>
                  <a:pt x="178127" y="22327"/>
                </a:lnTo>
                <a:cubicBezTo>
                  <a:pt x="187805" y="24155"/>
                  <a:pt x="193596" y="29489"/>
                  <a:pt x="193596" y="38176"/>
                </a:cubicBezTo>
                <a:cubicBezTo>
                  <a:pt x="193596" y="49454"/>
                  <a:pt x="183842" y="55016"/>
                  <a:pt x="172793" y="55016"/>
                </a:cubicBezTo>
                <a:cubicBezTo>
                  <a:pt x="159839" y="55016"/>
                  <a:pt x="152219" y="47701"/>
                  <a:pt x="151000" y="37871"/>
                </a:cubicBezTo>
                <a:lnTo>
                  <a:pt x="162963" y="37871"/>
                </a:lnTo>
                <a:cubicBezTo>
                  <a:pt x="163649" y="42367"/>
                  <a:pt x="167383" y="45034"/>
                  <a:pt x="172717" y="45034"/>
                </a:cubicBezTo>
                <a:cubicBezTo>
                  <a:pt x="177365" y="45034"/>
                  <a:pt x="181632" y="43053"/>
                  <a:pt x="181632" y="38862"/>
                </a:cubicBezTo>
                <a:cubicBezTo>
                  <a:pt x="181632" y="35738"/>
                  <a:pt x="179194" y="33757"/>
                  <a:pt x="174774" y="32918"/>
                </a:cubicBezTo>
                <a:lnTo>
                  <a:pt x="167078" y="31471"/>
                </a:lnTo>
                <a:cubicBezTo>
                  <a:pt x="158010" y="29947"/>
                  <a:pt x="151686" y="24841"/>
                  <a:pt x="151686" y="16078"/>
                </a:cubicBezTo>
                <a:cubicBezTo>
                  <a:pt x="151686" y="5105"/>
                  <a:pt x="161820" y="0"/>
                  <a:pt x="172031" y="0"/>
                </a:cubicBezTo>
                <a:close/>
              </a:path>
            </a:pathLst>
          </a:custGeom>
          <a:solidFill>
            <a:schemeClr val="bg1"/>
          </a:solidFill>
          <a:ln w="9525" cap="flat">
            <a:noFill/>
            <a:prstDash val="solid"/>
            <a:miter/>
          </a:ln>
        </p:spPr>
        <p:txBody>
          <a:bodyPr rtlCol="0" anchor="ctr"/>
          <a:lstStyle/>
          <a:p>
            <a:endParaRPr lang="en-GB"/>
          </a:p>
        </p:txBody>
      </p:sp>
    </p:spTree>
    <p:extLst>
      <p:ext uri="{BB962C8B-B14F-4D97-AF65-F5344CB8AC3E}">
        <p14:creationId xmlns:p14="http://schemas.microsoft.com/office/powerpoint/2010/main" val="415965473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Large Text A">
    <p:spTree>
      <p:nvGrpSpPr>
        <p:cNvPr id="1" name=""/>
        <p:cNvGrpSpPr/>
        <p:nvPr/>
      </p:nvGrpSpPr>
      <p:grpSpPr>
        <a:xfrm>
          <a:off x="0" y="0"/>
          <a:ext cx="0" cy="0"/>
          <a:chOff x="0" y="0"/>
          <a:chExt cx="0" cy="0"/>
        </a:xfrm>
      </p:grpSpPr>
      <p:sp>
        <p:nvSpPr>
          <p:cNvPr id="6" name="Background">
            <a:extLst>
              <a:ext uri="{FF2B5EF4-FFF2-40B4-BE49-F238E27FC236}">
                <a16:creationId xmlns:a16="http://schemas.microsoft.com/office/drawing/2014/main" id="{A02D6457-55D0-E51F-CBAB-691A256931AB}"/>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a:extLst>
              <a:ext uri="{FF2B5EF4-FFF2-40B4-BE49-F238E27FC236}">
                <a16:creationId xmlns:a16="http://schemas.microsoft.com/office/drawing/2014/main" id="{24C9D909-49D5-40E7-8A46-904F4218013D}"/>
              </a:ext>
            </a:extLst>
          </p:cNvPr>
          <p:cNvSpPr>
            <a:spLocks noGrp="1"/>
          </p:cNvSpPr>
          <p:nvPr>
            <p:ph type="title" hasCustomPrompt="1"/>
          </p:nvPr>
        </p:nvSpPr>
        <p:spPr>
          <a:xfrm>
            <a:off x="266700" y="271462"/>
            <a:ext cx="11653838" cy="5661026"/>
          </a:xfrm>
        </p:spPr>
        <p:txBody>
          <a:bodyPr anchor="b"/>
          <a:lstStyle>
            <a:lvl1pPr>
              <a:defRPr sz="4500">
                <a:solidFill>
                  <a:schemeClr val="accent1"/>
                </a:solidFill>
              </a:defRPr>
            </a:lvl1pPr>
          </a:lstStyle>
          <a:p>
            <a:r>
              <a:rPr lang="en-GB"/>
              <a:t>Click to add title</a:t>
            </a:r>
          </a:p>
        </p:txBody>
      </p:sp>
      <p:sp>
        <p:nvSpPr>
          <p:cNvPr id="3" name="Date Placeholder 2">
            <a:extLst>
              <a:ext uri="{FF2B5EF4-FFF2-40B4-BE49-F238E27FC236}">
                <a16:creationId xmlns:a16="http://schemas.microsoft.com/office/drawing/2014/main" id="{567012D6-48ED-4B03-85DE-25086AACDB85}"/>
              </a:ext>
            </a:extLst>
          </p:cNvPr>
          <p:cNvSpPr>
            <a:spLocks noGrp="1"/>
          </p:cNvSpPr>
          <p:nvPr>
            <p:ph type="dt" sz="half" idx="10"/>
          </p:nvPr>
        </p:nvSpPr>
        <p:spPr>
          <a:xfrm>
            <a:off x="0" y="6858000"/>
            <a:ext cx="0" cy="0"/>
          </a:xfrm>
          <a:prstGeom prst="rect">
            <a:avLst/>
          </a:prstGeom>
        </p:spPr>
        <p:txBody>
          <a:bodyPr/>
          <a:lstStyle>
            <a:lvl1pPr>
              <a:defRPr sz="100">
                <a:noFill/>
              </a:defRPr>
            </a:lvl1pPr>
          </a:lstStyle>
          <a:p>
            <a:fld id="{1E5AFE95-9D1C-4162-9E60-07C95AA52433}" type="datetime4">
              <a:rPr lang="en-GB" smtClean="0"/>
              <a:t>20 February 2025</a:t>
            </a:fld>
            <a:endParaRPr lang="en-GB"/>
          </a:p>
        </p:txBody>
      </p:sp>
      <p:sp>
        <p:nvSpPr>
          <p:cNvPr id="4" name="Footer Placeholder 3">
            <a:extLst>
              <a:ext uri="{FF2B5EF4-FFF2-40B4-BE49-F238E27FC236}">
                <a16:creationId xmlns:a16="http://schemas.microsoft.com/office/drawing/2014/main" id="{E57AB716-0309-754C-0B7E-73C48AD71CAD}"/>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CC321AA5-6588-9A37-5A5C-D63E7CD1804C}"/>
              </a:ext>
            </a:extLst>
          </p:cNvPr>
          <p:cNvSpPr>
            <a:spLocks noGrp="1"/>
          </p:cNvSpPr>
          <p:nvPr>
            <p:ph type="sldNum" sz="quarter" idx="12"/>
          </p:nvPr>
        </p:nvSpPr>
        <p:spPr/>
        <p:txBody>
          <a:bodyPr/>
          <a:lstStyle/>
          <a:p>
            <a:fld id="{23AA811B-2EBD-4900-905E-5BE206449611}" type="slidenum">
              <a:rPr lang="en-GB" smtClean="0"/>
              <a:pPr/>
              <a:t>‹#›</a:t>
            </a:fld>
            <a:endParaRPr lang="en-GB"/>
          </a:p>
        </p:txBody>
      </p:sp>
      <p:pic>
        <p:nvPicPr>
          <p:cNvPr id="12" name="Graphic 11">
            <a:extLst>
              <a:ext uri="{FF2B5EF4-FFF2-40B4-BE49-F238E27FC236}">
                <a16:creationId xmlns:a16="http://schemas.microsoft.com/office/drawing/2014/main" id="{C9FB54B0-955D-63F9-C3CB-45D27BE492C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929938" y="6253163"/>
            <a:ext cx="1000125" cy="333375"/>
          </a:xfrm>
          <a:prstGeom prst="rect">
            <a:avLst/>
          </a:prstGeom>
        </p:spPr>
      </p:pic>
    </p:spTree>
    <p:extLst>
      <p:ext uri="{BB962C8B-B14F-4D97-AF65-F5344CB8AC3E}">
        <p14:creationId xmlns:p14="http://schemas.microsoft.com/office/powerpoint/2010/main" val="4232316499"/>
      </p:ext>
    </p:extLst>
  </p:cSld>
  <p:clrMapOvr>
    <a:masterClrMapping/>
  </p:clrMapOvr>
  <p:extLst>
    <p:ext uri="{DCECCB84-F9BA-43D5-87BE-67443E8EF086}">
      <p15:sldGuideLst xmlns:p15="http://schemas.microsoft.com/office/powerpoint/2012/main">
        <p15:guide id="1" orient="horz" pos="3737" userDrawn="1">
          <p15:clr>
            <a:srgbClr val="A4A3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Large Text B (dark image)">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C90F6AAB-D0E6-B762-FA29-1565927AF00D}"/>
              </a:ext>
            </a:extLst>
          </p:cNvPr>
          <p:cNvSpPr>
            <a:spLocks noGrp="1"/>
          </p:cNvSpPr>
          <p:nvPr>
            <p:ph type="pic" sz="quarter" idx="18" hasCustomPrompt="1"/>
          </p:nvPr>
        </p:nvSpPr>
        <p:spPr>
          <a:xfrm>
            <a:off x="0" y="0"/>
            <a:ext cx="12192000" cy="6858000"/>
          </a:xfrm>
          <a:custGeom>
            <a:avLst/>
            <a:gdLst>
              <a:gd name="connsiteX0" fmla="*/ 0 w 12195988"/>
              <a:gd name="connsiteY0" fmla="*/ 0 h 6858000"/>
              <a:gd name="connsiteX1" fmla="*/ 2788 w 12195988"/>
              <a:gd name="connsiteY1" fmla="*/ 0 h 6858000"/>
              <a:gd name="connsiteX2" fmla="*/ 12193200 w 12195988"/>
              <a:gd name="connsiteY2" fmla="*/ 0 h 6858000"/>
              <a:gd name="connsiteX3" fmla="*/ 12194788 w 12195988"/>
              <a:gd name="connsiteY3" fmla="*/ 0 h 6858000"/>
              <a:gd name="connsiteX4" fmla="*/ 12195988 w 12195988"/>
              <a:gd name="connsiteY4" fmla="*/ 0 h 6858000"/>
              <a:gd name="connsiteX5" fmla="*/ 12195988 w 12195988"/>
              <a:gd name="connsiteY5" fmla="*/ 6858000 h 6858000"/>
              <a:gd name="connsiteX6" fmla="*/ 12194788 w 12195988"/>
              <a:gd name="connsiteY6" fmla="*/ 6858000 h 6858000"/>
              <a:gd name="connsiteX7" fmla="*/ 12193200 w 12195988"/>
              <a:gd name="connsiteY7" fmla="*/ 6858000 h 6858000"/>
              <a:gd name="connsiteX8" fmla="*/ 2788 w 12195988"/>
              <a:gd name="connsiteY8" fmla="*/ 6858000 h 6858000"/>
              <a:gd name="connsiteX9" fmla="*/ 0 w 12195988"/>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5988" h="6858000">
                <a:moveTo>
                  <a:pt x="0" y="0"/>
                </a:moveTo>
                <a:lnTo>
                  <a:pt x="2788" y="0"/>
                </a:lnTo>
                <a:lnTo>
                  <a:pt x="12193200" y="0"/>
                </a:lnTo>
                <a:lnTo>
                  <a:pt x="12194788" y="0"/>
                </a:lnTo>
                <a:lnTo>
                  <a:pt x="12195988" y="0"/>
                </a:lnTo>
                <a:lnTo>
                  <a:pt x="12195988" y="6858000"/>
                </a:lnTo>
                <a:lnTo>
                  <a:pt x="12194788" y="6858000"/>
                </a:lnTo>
                <a:lnTo>
                  <a:pt x="12193200" y="6858000"/>
                </a:lnTo>
                <a:lnTo>
                  <a:pt x="2788" y="6858000"/>
                </a:lnTo>
                <a:lnTo>
                  <a:pt x="0" y="6858000"/>
                </a:lnTo>
                <a:close/>
              </a:path>
            </a:pathLst>
          </a:custGeom>
          <a:solidFill>
            <a:schemeClr val="bg1">
              <a:lumMod val="85000"/>
            </a:schemeClr>
          </a:solidFill>
        </p:spPr>
        <p:txBody>
          <a:bodyPr wrap="square" bIns="648000" anchor="ctr">
            <a:noAutofit/>
          </a:bodyPr>
          <a:lstStyle>
            <a:lvl1pPr marL="126000" indent="0" algn="ctr">
              <a:buNone/>
              <a:defRPr/>
            </a:lvl1pPr>
          </a:lstStyle>
          <a:p>
            <a:r>
              <a:rPr lang="en-GB"/>
              <a:t>Click on frame and insert dark picture using the Insert tab, Pictures</a:t>
            </a:r>
          </a:p>
        </p:txBody>
      </p:sp>
      <p:sp>
        <p:nvSpPr>
          <p:cNvPr id="2" name="Title 1">
            <a:extLst>
              <a:ext uri="{FF2B5EF4-FFF2-40B4-BE49-F238E27FC236}">
                <a16:creationId xmlns:a16="http://schemas.microsoft.com/office/drawing/2014/main" id="{24C9D909-49D5-40E7-8A46-904F4218013D}"/>
              </a:ext>
            </a:extLst>
          </p:cNvPr>
          <p:cNvSpPr>
            <a:spLocks noGrp="1"/>
          </p:cNvSpPr>
          <p:nvPr>
            <p:ph type="title" hasCustomPrompt="1"/>
          </p:nvPr>
        </p:nvSpPr>
        <p:spPr bwMode="white">
          <a:xfrm>
            <a:off x="266700" y="271462"/>
            <a:ext cx="11653838" cy="5661026"/>
          </a:xfrm>
        </p:spPr>
        <p:txBody>
          <a:bodyPr anchor="b"/>
          <a:lstStyle>
            <a:lvl1pPr>
              <a:defRPr sz="4500">
                <a:solidFill>
                  <a:schemeClr val="bg1"/>
                </a:solidFill>
              </a:defRPr>
            </a:lvl1pPr>
          </a:lstStyle>
          <a:p>
            <a:r>
              <a:rPr lang="en-GB"/>
              <a:t>Click to add title</a:t>
            </a:r>
          </a:p>
        </p:txBody>
      </p:sp>
      <p:sp>
        <p:nvSpPr>
          <p:cNvPr id="3" name="Date Placeholder 2">
            <a:extLst>
              <a:ext uri="{FF2B5EF4-FFF2-40B4-BE49-F238E27FC236}">
                <a16:creationId xmlns:a16="http://schemas.microsoft.com/office/drawing/2014/main" id="{567012D6-48ED-4B03-85DE-25086AACDB85}"/>
              </a:ext>
            </a:extLst>
          </p:cNvPr>
          <p:cNvSpPr>
            <a:spLocks noGrp="1"/>
          </p:cNvSpPr>
          <p:nvPr>
            <p:ph type="dt" sz="half" idx="10"/>
          </p:nvPr>
        </p:nvSpPr>
        <p:spPr>
          <a:xfrm>
            <a:off x="0" y="6858000"/>
            <a:ext cx="0" cy="0"/>
          </a:xfrm>
          <a:prstGeom prst="rect">
            <a:avLst/>
          </a:prstGeom>
        </p:spPr>
        <p:txBody>
          <a:bodyPr/>
          <a:lstStyle>
            <a:lvl1pPr>
              <a:defRPr sz="100">
                <a:noFill/>
              </a:defRPr>
            </a:lvl1pPr>
          </a:lstStyle>
          <a:p>
            <a:fld id="{00995455-A4BC-4418-B4AA-05544F2971BE}" type="datetime4">
              <a:rPr lang="en-GB" smtClean="0"/>
              <a:t>20 February 2025</a:t>
            </a:fld>
            <a:endParaRPr lang="en-GB"/>
          </a:p>
        </p:txBody>
      </p:sp>
      <p:sp>
        <p:nvSpPr>
          <p:cNvPr id="4" name="Footer Placeholder 3">
            <a:extLst>
              <a:ext uri="{FF2B5EF4-FFF2-40B4-BE49-F238E27FC236}">
                <a16:creationId xmlns:a16="http://schemas.microsoft.com/office/drawing/2014/main" id="{E57AB716-0309-754C-0B7E-73C48AD71CAD}"/>
              </a:ext>
            </a:extLst>
          </p:cNvPr>
          <p:cNvSpPr>
            <a:spLocks noGrp="1"/>
          </p:cNvSpPr>
          <p:nvPr>
            <p:ph type="ftr" sz="quarter" idx="11"/>
          </p:nvPr>
        </p:nvSpPr>
        <p:spPr bwMode="white"/>
        <p:txBody>
          <a:bodyPr/>
          <a:lstStyle>
            <a:lvl1pPr>
              <a:defRPr>
                <a:solidFill>
                  <a:schemeClr val="bg1"/>
                </a:solidFill>
              </a:defRPr>
            </a:lvl1pPr>
          </a:lstStyle>
          <a:p>
            <a:endParaRPr lang="en-GB"/>
          </a:p>
        </p:txBody>
      </p:sp>
      <p:sp>
        <p:nvSpPr>
          <p:cNvPr id="5" name="Slide Number Placeholder 4">
            <a:extLst>
              <a:ext uri="{FF2B5EF4-FFF2-40B4-BE49-F238E27FC236}">
                <a16:creationId xmlns:a16="http://schemas.microsoft.com/office/drawing/2014/main" id="{CC321AA5-6588-9A37-5A5C-D63E7CD1804C}"/>
              </a:ext>
            </a:extLst>
          </p:cNvPr>
          <p:cNvSpPr>
            <a:spLocks noGrp="1"/>
          </p:cNvSpPr>
          <p:nvPr>
            <p:ph type="sldNum" sz="quarter" idx="12"/>
          </p:nvPr>
        </p:nvSpPr>
        <p:spPr bwMode="white"/>
        <p:txBody>
          <a:bodyPr/>
          <a:lstStyle>
            <a:lvl1pPr>
              <a:defRPr>
                <a:solidFill>
                  <a:schemeClr val="bg1"/>
                </a:solidFill>
              </a:defRPr>
            </a:lvl1pPr>
          </a:lstStyle>
          <a:p>
            <a:fld id="{23AA811B-2EBD-4900-905E-5BE206449611}" type="slidenum">
              <a:rPr lang="en-GB" smtClean="0"/>
              <a:pPr/>
              <a:t>‹#›</a:t>
            </a:fld>
            <a:endParaRPr lang="en-GB"/>
          </a:p>
        </p:txBody>
      </p:sp>
      <p:sp>
        <p:nvSpPr>
          <p:cNvPr id="16" name="Text Placeholder 15">
            <a:extLst>
              <a:ext uri="{FF2B5EF4-FFF2-40B4-BE49-F238E27FC236}">
                <a16:creationId xmlns:a16="http://schemas.microsoft.com/office/drawing/2014/main" id="{FB87CD13-8068-0FAF-0517-DFEC00D5E6D9}"/>
              </a:ext>
            </a:extLst>
          </p:cNvPr>
          <p:cNvSpPr>
            <a:spLocks noGrp="1"/>
          </p:cNvSpPr>
          <p:nvPr>
            <p:ph type="body" sz="quarter" idx="19" hasCustomPrompt="1"/>
          </p:nvPr>
        </p:nvSpPr>
        <p:spPr bwMode="white">
          <a:xfrm>
            <a:off x="10929943" y="6253136"/>
            <a:ext cx="991080" cy="333436"/>
          </a:xfrm>
          <a:custGeom>
            <a:avLst/>
            <a:gdLst>
              <a:gd name="connsiteX0" fmla="*/ 777113 w 991080"/>
              <a:gd name="connsiteY0" fmla="*/ 120969 h 333436"/>
              <a:gd name="connsiteX1" fmla="*/ 777113 w 991080"/>
              <a:gd name="connsiteY1" fmla="*/ 212441 h 333436"/>
              <a:gd name="connsiteX2" fmla="*/ 814693 w 991080"/>
              <a:gd name="connsiteY2" fmla="*/ 212441 h 333436"/>
              <a:gd name="connsiteX3" fmla="*/ 829575 w 991080"/>
              <a:gd name="connsiteY3" fmla="*/ 197054 h 333436"/>
              <a:gd name="connsiteX4" fmla="*/ 829575 w 991080"/>
              <a:gd name="connsiteY4" fmla="*/ 136370 h 333436"/>
              <a:gd name="connsiteX5" fmla="*/ 814693 w 991080"/>
              <a:gd name="connsiteY5" fmla="*/ 120969 h 333436"/>
              <a:gd name="connsiteX6" fmla="*/ 511966 w 991080"/>
              <a:gd name="connsiteY6" fmla="*/ 120969 h 333436"/>
              <a:gd name="connsiteX7" fmla="*/ 511966 w 991080"/>
              <a:gd name="connsiteY7" fmla="*/ 212441 h 333436"/>
              <a:gd name="connsiteX8" fmla="*/ 549546 w 991080"/>
              <a:gd name="connsiteY8" fmla="*/ 212441 h 333436"/>
              <a:gd name="connsiteX9" fmla="*/ 564426 w 991080"/>
              <a:gd name="connsiteY9" fmla="*/ 197054 h 333436"/>
              <a:gd name="connsiteX10" fmla="*/ 564426 w 991080"/>
              <a:gd name="connsiteY10" fmla="*/ 136370 h 333436"/>
              <a:gd name="connsiteX11" fmla="*/ 549546 w 991080"/>
              <a:gd name="connsiteY11" fmla="*/ 120969 h 333436"/>
              <a:gd name="connsiteX12" fmla="*/ 191228 w 991080"/>
              <a:gd name="connsiteY12" fmla="*/ 89978 h 333436"/>
              <a:gd name="connsiteX13" fmla="*/ 190277 w 991080"/>
              <a:gd name="connsiteY13" fmla="*/ 90227 h 333436"/>
              <a:gd name="connsiteX14" fmla="*/ 189581 w 991080"/>
              <a:gd name="connsiteY14" fmla="*/ 90906 h 333436"/>
              <a:gd name="connsiteX15" fmla="*/ 189323 w 991080"/>
              <a:gd name="connsiteY15" fmla="*/ 91832 h 333436"/>
              <a:gd name="connsiteX16" fmla="*/ 189575 w 991080"/>
              <a:gd name="connsiteY16" fmla="*/ 92760 h 333436"/>
              <a:gd name="connsiteX17" fmla="*/ 225952 w 991080"/>
              <a:gd name="connsiteY17" fmla="*/ 154132 h 333436"/>
              <a:gd name="connsiteX18" fmla="*/ 162923 w 991080"/>
              <a:gd name="connsiteY18" fmla="*/ 118717 h 333436"/>
              <a:gd name="connsiteX19" fmla="*/ 161970 w 991080"/>
              <a:gd name="connsiteY19" fmla="*/ 118472 h 333436"/>
              <a:gd name="connsiteX20" fmla="*/ 161020 w 991080"/>
              <a:gd name="connsiteY20" fmla="*/ 118722 h 333436"/>
              <a:gd name="connsiteX21" fmla="*/ 160324 w 991080"/>
              <a:gd name="connsiteY21" fmla="*/ 119401 h 333436"/>
              <a:gd name="connsiteX22" fmla="*/ 160067 w 991080"/>
              <a:gd name="connsiteY22" fmla="*/ 120328 h 333436"/>
              <a:gd name="connsiteX23" fmla="*/ 160067 w 991080"/>
              <a:gd name="connsiteY23" fmla="*/ 213103 h 333436"/>
              <a:gd name="connsiteX24" fmla="*/ 160324 w 991080"/>
              <a:gd name="connsiteY24" fmla="*/ 214030 h 333436"/>
              <a:gd name="connsiteX25" fmla="*/ 161020 w 991080"/>
              <a:gd name="connsiteY25" fmla="*/ 214708 h 333436"/>
              <a:gd name="connsiteX26" fmla="*/ 161970 w 991080"/>
              <a:gd name="connsiteY26" fmla="*/ 214959 h 333436"/>
              <a:gd name="connsiteX27" fmla="*/ 162923 w 991080"/>
              <a:gd name="connsiteY27" fmla="*/ 214714 h 333436"/>
              <a:gd name="connsiteX28" fmla="*/ 225952 w 991080"/>
              <a:gd name="connsiteY28" fmla="*/ 179299 h 333436"/>
              <a:gd name="connsiteX29" fmla="*/ 189635 w 991080"/>
              <a:gd name="connsiteY29" fmla="*/ 240670 h 333436"/>
              <a:gd name="connsiteX30" fmla="*/ 189383 w 991080"/>
              <a:gd name="connsiteY30" fmla="*/ 241598 h 333436"/>
              <a:gd name="connsiteX31" fmla="*/ 189641 w 991080"/>
              <a:gd name="connsiteY31" fmla="*/ 242525 h 333436"/>
              <a:gd name="connsiteX32" fmla="*/ 190337 w 991080"/>
              <a:gd name="connsiteY32" fmla="*/ 243203 h 333436"/>
              <a:gd name="connsiteX33" fmla="*/ 191288 w 991080"/>
              <a:gd name="connsiteY33" fmla="*/ 243453 h 333436"/>
              <a:gd name="connsiteX34" fmla="*/ 286486 w 991080"/>
              <a:gd name="connsiteY34" fmla="*/ 243453 h 333436"/>
              <a:gd name="connsiteX35" fmla="*/ 287437 w 991080"/>
              <a:gd name="connsiteY35" fmla="*/ 243203 h 333436"/>
              <a:gd name="connsiteX36" fmla="*/ 288134 w 991080"/>
              <a:gd name="connsiteY36" fmla="*/ 242525 h 333436"/>
              <a:gd name="connsiteX37" fmla="*/ 288391 w 991080"/>
              <a:gd name="connsiteY37" fmla="*/ 241598 h 333436"/>
              <a:gd name="connsiteX38" fmla="*/ 288139 w 991080"/>
              <a:gd name="connsiteY38" fmla="*/ 240670 h 333436"/>
              <a:gd name="connsiteX39" fmla="*/ 251777 w 991080"/>
              <a:gd name="connsiteY39" fmla="*/ 179299 h 333436"/>
              <a:gd name="connsiteX40" fmla="*/ 314790 w 991080"/>
              <a:gd name="connsiteY40" fmla="*/ 214714 h 333436"/>
              <a:gd name="connsiteX41" fmla="*/ 315745 w 991080"/>
              <a:gd name="connsiteY41" fmla="*/ 214969 h 333436"/>
              <a:gd name="connsiteX42" fmla="*/ 316702 w 991080"/>
              <a:gd name="connsiteY42" fmla="*/ 214721 h 333436"/>
              <a:gd name="connsiteX43" fmla="*/ 317399 w 991080"/>
              <a:gd name="connsiteY43" fmla="*/ 214037 h 333436"/>
              <a:gd name="connsiteX44" fmla="*/ 317647 w 991080"/>
              <a:gd name="connsiteY44" fmla="*/ 213103 h 333436"/>
              <a:gd name="connsiteX45" fmla="*/ 317647 w 991080"/>
              <a:gd name="connsiteY45" fmla="*/ 120328 h 333436"/>
              <a:gd name="connsiteX46" fmla="*/ 317399 w 991080"/>
              <a:gd name="connsiteY46" fmla="*/ 119393 h 333436"/>
              <a:gd name="connsiteX47" fmla="*/ 316702 w 991080"/>
              <a:gd name="connsiteY47" fmla="*/ 118709 h 333436"/>
              <a:gd name="connsiteX48" fmla="*/ 315745 w 991080"/>
              <a:gd name="connsiteY48" fmla="*/ 118461 h 333436"/>
              <a:gd name="connsiteX49" fmla="*/ 314790 w 991080"/>
              <a:gd name="connsiteY49" fmla="*/ 118717 h 333436"/>
              <a:gd name="connsiteX50" fmla="*/ 251777 w 991080"/>
              <a:gd name="connsiteY50" fmla="*/ 154132 h 333436"/>
              <a:gd name="connsiteX51" fmla="*/ 288139 w 991080"/>
              <a:gd name="connsiteY51" fmla="*/ 92760 h 333436"/>
              <a:gd name="connsiteX52" fmla="*/ 288391 w 991080"/>
              <a:gd name="connsiteY52" fmla="*/ 91832 h 333436"/>
              <a:gd name="connsiteX53" fmla="*/ 288134 w 991080"/>
              <a:gd name="connsiteY53" fmla="*/ 90906 h 333436"/>
              <a:gd name="connsiteX54" fmla="*/ 287437 w 991080"/>
              <a:gd name="connsiteY54" fmla="*/ 90227 h 333436"/>
              <a:gd name="connsiteX55" fmla="*/ 286486 w 991080"/>
              <a:gd name="connsiteY55" fmla="*/ 89978 h 333436"/>
              <a:gd name="connsiteX56" fmla="*/ 746614 w 991080"/>
              <a:gd name="connsiteY56" fmla="*/ 89975 h 333436"/>
              <a:gd name="connsiteX57" fmla="*/ 819428 w 991080"/>
              <a:gd name="connsiteY57" fmla="*/ 89975 h 333436"/>
              <a:gd name="connsiteX58" fmla="*/ 863622 w 991080"/>
              <a:gd name="connsiteY58" fmla="*/ 130646 h 333436"/>
              <a:gd name="connsiteX59" fmla="*/ 863622 w 991080"/>
              <a:gd name="connsiteY59" fmla="*/ 202837 h 333436"/>
              <a:gd name="connsiteX60" fmla="*/ 819428 w 991080"/>
              <a:gd name="connsiteY60" fmla="*/ 243508 h 333436"/>
              <a:gd name="connsiteX61" fmla="*/ 746614 w 991080"/>
              <a:gd name="connsiteY61" fmla="*/ 243508 h 333436"/>
              <a:gd name="connsiteX62" fmla="*/ 743006 w 991080"/>
              <a:gd name="connsiteY62" fmla="*/ 239994 h 333436"/>
              <a:gd name="connsiteX63" fmla="*/ 743006 w 991080"/>
              <a:gd name="connsiteY63" fmla="*/ 93489 h 333436"/>
              <a:gd name="connsiteX64" fmla="*/ 746614 w 991080"/>
              <a:gd name="connsiteY64" fmla="*/ 89975 h 333436"/>
              <a:gd name="connsiteX65" fmla="*/ 624298 w 991080"/>
              <a:gd name="connsiteY65" fmla="*/ 89975 h 333436"/>
              <a:gd name="connsiteX66" fmla="*/ 721014 w 991080"/>
              <a:gd name="connsiteY66" fmla="*/ 89975 h 333436"/>
              <a:gd name="connsiteX67" fmla="*/ 724621 w 991080"/>
              <a:gd name="connsiteY67" fmla="*/ 93489 h 333436"/>
              <a:gd name="connsiteX68" fmla="*/ 724621 w 991080"/>
              <a:gd name="connsiteY68" fmla="*/ 117455 h 333436"/>
              <a:gd name="connsiteX69" fmla="*/ 721014 w 991080"/>
              <a:gd name="connsiteY69" fmla="*/ 120969 h 333436"/>
              <a:gd name="connsiteX70" fmla="*/ 654738 w 991080"/>
              <a:gd name="connsiteY70" fmla="*/ 120969 h 333436"/>
              <a:gd name="connsiteX71" fmla="*/ 654738 w 991080"/>
              <a:gd name="connsiteY71" fmla="*/ 154173 h 333436"/>
              <a:gd name="connsiteX72" fmla="*/ 712656 w 991080"/>
              <a:gd name="connsiteY72" fmla="*/ 154173 h 333436"/>
              <a:gd name="connsiteX73" fmla="*/ 716263 w 991080"/>
              <a:gd name="connsiteY73" fmla="*/ 157701 h 333436"/>
              <a:gd name="connsiteX74" fmla="*/ 716263 w 991080"/>
              <a:gd name="connsiteY74" fmla="*/ 181726 h 333436"/>
              <a:gd name="connsiteX75" fmla="*/ 712656 w 991080"/>
              <a:gd name="connsiteY75" fmla="*/ 185240 h 333436"/>
              <a:gd name="connsiteX76" fmla="*/ 654738 w 991080"/>
              <a:gd name="connsiteY76" fmla="*/ 185240 h 333436"/>
              <a:gd name="connsiteX77" fmla="*/ 654738 w 991080"/>
              <a:gd name="connsiteY77" fmla="*/ 239994 h 333436"/>
              <a:gd name="connsiteX78" fmla="*/ 651130 w 991080"/>
              <a:gd name="connsiteY78" fmla="*/ 243508 h 333436"/>
              <a:gd name="connsiteX79" fmla="*/ 624298 w 991080"/>
              <a:gd name="connsiteY79" fmla="*/ 243508 h 333436"/>
              <a:gd name="connsiteX80" fmla="*/ 620690 w 991080"/>
              <a:gd name="connsiteY80" fmla="*/ 239994 h 333436"/>
              <a:gd name="connsiteX81" fmla="*/ 620690 w 991080"/>
              <a:gd name="connsiteY81" fmla="*/ 93489 h 333436"/>
              <a:gd name="connsiteX82" fmla="*/ 624298 w 991080"/>
              <a:gd name="connsiteY82" fmla="*/ 89975 h 333436"/>
              <a:gd name="connsiteX83" fmla="*/ 481496 w 991080"/>
              <a:gd name="connsiteY83" fmla="*/ 89975 h 333436"/>
              <a:gd name="connsiteX84" fmla="*/ 554280 w 991080"/>
              <a:gd name="connsiteY84" fmla="*/ 89975 h 333436"/>
              <a:gd name="connsiteX85" fmla="*/ 598519 w 991080"/>
              <a:gd name="connsiteY85" fmla="*/ 130646 h 333436"/>
              <a:gd name="connsiteX86" fmla="*/ 598519 w 991080"/>
              <a:gd name="connsiteY86" fmla="*/ 202837 h 333436"/>
              <a:gd name="connsiteX87" fmla="*/ 554325 w 991080"/>
              <a:gd name="connsiteY87" fmla="*/ 243508 h 333436"/>
              <a:gd name="connsiteX88" fmla="*/ 481496 w 991080"/>
              <a:gd name="connsiteY88" fmla="*/ 243508 h 333436"/>
              <a:gd name="connsiteX89" fmla="*/ 477888 w 991080"/>
              <a:gd name="connsiteY89" fmla="*/ 239994 h 333436"/>
              <a:gd name="connsiteX90" fmla="*/ 477888 w 991080"/>
              <a:gd name="connsiteY90" fmla="*/ 93489 h 333436"/>
              <a:gd name="connsiteX91" fmla="*/ 481496 w 991080"/>
              <a:gd name="connsiteY91" fmla="*/ 89975 h 333436"/>
              <a:gd name="connsiteX92" fmla="*/ 925345 w 991080"/>
              <a:gd name="connsiteY92" fmla="*/ 88877 h 333436"/>
              <a:gd name="connsiteX93" fmla="*/ 978107 w 991080"/>
              <a:gd name="connsiteY93" fmla="*/ 89536 h 333436"/>
              <a:gd name="connsiteX94" fmla="*/ 981717 w 991080"/>
              <a:gd name="connsiteY94" fmla="*/ 93050 h 333436"/>
              <a:gd name="connsiteX95" fmla="*/ 981717 w 991080"/>
              <a:gd name="connsiteY95" fmla="*/ 117016 h 333436"/>
              <a:gd name="connsiteX96" fmla="*/ 978107 w 991080"/>
              <a:gd name="connsiteY96" fmla="*/ 120529 h 333436"/>
              <a:gd name="connsiteX97" fmla="*/ 930005 w 991080"/>
              <a:gd name="connsiteY97" fmla="*/ 119870 h 333436"/>
              <a:gd name="connsiteX98" fmla="*/ 915123 w 991080"/>
              <a:gd name="connsiteY98" fmla="*/ 130866 h 333436"/>
              <a:gd name="connsiteX99" fmla="*/ 915123 w 991080"/>
              <a:gd name="connsiteY99" fmla="*/ 133955 h 333436"/>
              <a:gd name="connsiteX100" fmla="*/ 925044 w 991080"/>
              <a:gd name="connsiteY100" fmla="*/ 146048 h 333436"/>
              <a:gd name="connsiteX101" fmla="*/ 959990 w 991080"/>
              <a:gd name="connsiteY101" fmla="*/ 157263 h 333436"/>
              <a:gd name="connsiteX102" fmla="*/ 991080 w 991080"/>
              <a:gd name="connsiteY102" fmla="*/ 194229 h 333436"/>
              <a:gd name="connsiteX103" fmla="*/ 991080 w 991080"/>
              <a:gd name="connsiteY103" fmla="*/ 206322 h 333436"/>
              <a:gd name="connsiteX104" fmla="*/ 946990 w 991080"/>
              <a:gd name="connsiteY104" fmla="*/ 244635 h 333436"/>
              <a:gd name="connsiteX105" fmla="*/ 885991 w 991080"/>
              <a:gd name="connsiteY105" fmla="*/ 243977 h 333436"/>
              <a:gd name="connsiteX106" fmla="*/ 882383 w 991080"/>
              <a:gd name="connsiteY106" fmla="*/ 240463 h 333436"/>
              <a:gd name="connsiteX107" fmla="*/ 882383 w 991080"/>
              <a:gd name="connsiteY107" fmla="*/ 216497 h 333436"/>
              <a:gd name="connsiteX108" fmla="*/ 885991 w 991080"/>
              <a:gd name="connsiteY108" fmla="*/ 212969 h 333436"/>
              <a:gd name="connsiteX109" fmla="*/ 942256 w 991080"/>
              <a:gd name="connsiteY109" fmla="*/ 213642 h 333436"/>
              <a:gd name="connsiteX110" fmla="*/ 956914 w 991080"/>
              <a:gd name="connsiteY110" fmla="*/ 201930 h 333436"/>
              <a:gd name="connsiteX111" fmla="*/ 956914 w 991080"/>
              <a:gd name="connsiteY111" fmla="*/ 198372 h 333436"/>
              <a:gd name="connsiteX112" fmla="*/ 946990 w 991080"/>
              <a:gd name="connsiteY112" fmla="*/ 185620 h 333436"/>
              <a:gd name="connsiteX113" fmla="*/ 912267 w 991080"/>
              <a:gd name="connsiteY113" fmla="*/ 174626 h 333436"/>
              <a:gd name="connsiteX114" fmla="*/ 881166 w 991080"/>
              <a:gd name="connsiteY114" fmla="*/ 137908 h 333436"/>
              <a:gd name="connsiteX115" fmla="*/ 881166 w 991080"/>
              <a:gd name="connsiteY115" fmla="*/ 126034 h 333436"/>
              <a:gd name="connsiteX116" fmla="*/ 925345 w 991080"/>
              <a:gd name="connsiteY116" fmla="*/ 88877 h 333436"/>
              <a:gd name="connsiteX117" fmla="*/ 199827 w 991080"/>
              <a:gd name="connsiteY117" fmla="*/ 28 h 333436"/>
              <a:gd name="connsiteX118" fmla="*/ 475181 w 991080"/>
              <a:gd name="connsiteY118" fmla="*/ 28 h 333436"/>
              <a:gd name="connsiteX119" fmla="*/ 476520 w 991080"/>
              <a:gd name="connsiteY119" fmla="*/ 207 h 333436"/>
              <a:gd name="connsiteX120" fmla="*/ 477528 w 991080"/>
              <a:gd name="connsiteY120" fmla="*/ 1084 h 333436"/>
              <a:gd name="connsiteX121" fmla="*/ 477861 w 991080"/>
              <a:gd name="connsiteY121" fmla="*/ 2360 h 333436"/>
              <a:gd name="connsiteX122" fmla="*/ 477406 w 991080"/>
              <a:gd name="connsiteY122" fmla="*/ 3600 h 333436"/>
              <a:gd name="connsiteX123" fmla="*/ 283885 w 991080"/>
              <a:gd name="connsiteY123" fmla="*/ 330080 h 333436"/>
              <a:gd name="connsiteX124" fmla="*/ 281459 w 991080"/>
              <a:gd name="connsiteY124" fmla="*/ 332601 h 333436"/>
              <a:gd name="connsiteX125" fmla="*/ 278008 w 991080"/>
              <a:gd name="connsiteY125" fmla="*/ 333403 h 333436"/>
              <a:gd name="connsiteX126" fmla="*/ 2713 w 991080"/>
              <a:gd name="connsiteY126" fmla="*/ 333403 h 333436"/>
              <a:gd name="connsiteX127" fmla="*/ 1359 w 991080"/>
              <a:gd name="connsiteY127" fmla="*/ 333235 h 333436"/>
              <a:gd name="connsiteX128" fmla="*/ 337 w 991080"/>
              <a:gd name="connsiteY128" fmla="*/ 332353 h 333436"/>
              <a:gd name="connsiteX129" fmla="*/ 3 w 991080"/>
              <a:gd name="connsiteY129" fmla="*/ 331064 h 333436"/>
              <a:gd name="connsiteX130" fmla="*/ 473 w 991080"/>
              <a:gd name="connsiteY130" fmla="*/ 329816 h 333436"/>
              <a:gd name="connsiteX131" fmla="*/ 193949 w 991080"/>
              <a:gd name="connsiteY131" fmla="*/ 3351 h 333436"/>
              <a:gd name="connsiteX132" fmla="*/ 196375 w 991080"/>
              <a:gd name="connsiteY132" fmla="*/ 829 h 333436"/>
              <a:gd name="connsiteX133" fmla="*/ 199827 w 991080"/>
              <a:gd name="connsiteY133" fmla="*/ 28 h 333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Lst>
            <a:rect l="l" t="t" r="r" b="b"/>
            <a:pathLst>
              <a:path w="991080" h="333436">
                <a:moveTo>
                  <a:pt x="777113" y="120969"/>
                </a:moveTo>
                <a:lnTo>
                  <a:pt x="777113" y="212441"/>
                </a:lnTo>
                <a:lnTo>
                  <a:pt x="814693" y="212441"/>
                </a:lnTo>
                <a:cubicBezTo>
                  <a:pt x="825291" y="212441"/>
                  <a:pt x="829575" y="208049"/>
                  <a:pt x="829575" y="197054"/>
                </a:cubicBezTo>
                <a:lnTo>
                  <a:pt x="829575" y="136370"/>
                </a:lnTo>
                <a:cubicBezTo>
                  <a:pt x="829575" y="125361"/>
                  <a:pt x="825291" y="120969"/>
                  <a:pt x="814693" y="120969"/>
                </a:cubicBezTo>
                <a:close/>
                <a:moveTo>
                  <a:pt x="511966" y="120969"/>
                </a:moveTo>
                <a:lnTo>
                  <a:pt x="511966" y="212441"/>
                </a:lnTo>
                <a:lnTo>
                  <a:pt x="549546" y="212441"/>
                </a:lnTo>
                <a:cubicBezTo>
                  <a:pt x="560143" y="212441"/>
                  <a:pt x="564426" y="208049"/>
                  <a:pt x="564426" y="197054"/>
                </a:cubicBezTo>
                <a:lnTo>
                  <a:pt x="564426" y="136370"/>
                </a:lnTo>
                <a:cubicBezTo>
                  <a:pt x="564426" y="125361"/>
                  <a:pt x="560143" y="120969"/>
                  <a:pt x="549546" y="120969"/>
                </a:cubicBezTo>
                <a:close/>
                <a:moveTo>
                  <a:pt x="191228" y="89978"/>
                </a:moveTo>
                <a:cubicBezTo>
                  <a:pt x="190894" y="89979"/>
                  <a:pt x="190566" y="90065"/>
                  <a:pt x="190277" y="90227"/>
                </a:cubicBezTo>
                <a:cubicBezTo>
                  <a:pt x="189988" y="90390"/>
                  <a:pt x="189747" y="90624"/>
                  <a:pt x="189581" y="90906"/>
                </a:cubicBezTo>
                <a:cubicBezTo>
                  <a:pt x="189413" y="91187"/>
                  <a:pt x="189324" y="91507"/>
                  <a:pt x="189323" y="91832"/>
                </a:cubicBezTo>
                <a:cubicBezTo>
                  <a:pt x="189322" y="92157"/>
                  <a:pt x="189409" y="92477"/>
                  <a:pt x="189575" y="92760"/>
                </a:cubicBezTo>
                <a:lnTo>
                  <a:pt x="225952" y="154132"/>
                </a:lnTo>
                <a:lnTo>
                  <a:pt x="162923" y="118717"/>
                </a:lnTo>
                <a:cubicBezTo>
                  <a:pt x="162633" y="118555"/>
                  <a:pt x="162305" y="118471"/>
                  <a:pt x="161970" y="118472"/>
                </a:cubicBezTo>
                <a:cubicBezTo>
                  <a:pt x="161637" y="118473"/>
                  <a:pt x="161308" y="118559"/>
                  <a:pt x="161020" y="118722"/>
                </a:cubicBezTo>
                <a:cubicBezTo>
                  <a:pt x="160730" y="118886"/>
                  <a:pt x="160490" y="119119"/>
                  <a:pt x="160324" y="119401"/>
                </a:cubicBezTo>
                <a:cubicBezTo>
                  <a:pt x="160156" y="119683"/>
                  <a:pt x="160067" y="120002"/>
                  <a:pt x="160067" y="120328"/>
                </a:cubicBezTo>
                <a:lnTo>
                  <a:pt x="160067" y="213103"/>
                </a:lnTo>
                <a:cubicBezTo>
                  <a:pt x="160067" y="213429"/>
                  <a:pt x="160156" y="213748"/>
                  <a:pt x="160324" y="214030"/>
                </a:cubicBezTo>
                <a:cubicBezTo>
                  <a:pt x="160490" y="214311"/>
                  <a:pt x="160730" y="214545"/>
                  <a:pt x="161020" y="214708"/>
                </a:cubicBezTo>
                <a:cubicBezTo>
                  <a:pt x="161308" y="214871"/>
                  <a:pt x="161637" y="214958"/>
                  <a:pt x="161970" y="214959"/>
                </a:cubicBezTo>
                <a:cubicBezTo>
                  <a:pt x="162305" y="214959"/>
                  <a:pt x="162633" y="214875"/>
                  <a:pt x="162923" y="214714"/>
                </a:cubicBezTo>
                <a:lnTo>
                  <a:pt x="225952" y="179299"/>
                </a:lnTo>
                <a:lnTo>
                  <a:pt x="189635" y="240670"/>
                </a:lnTo>
                <a:cubicBezTo>
                  <a:pt x="189469" y="240953"/>
                  <a:pt x="189382" y="241273"/>
                  <a:pt x="189383" y="241598"/>
                </a:cubicBezTo>
                <a:cubicBezTo>
                  <a:pt x="189384" y="241924"/>
                  <a:pt x="189473" y="242243"/>
                  <a:pt x="189641" y="242525"/>
                </a:cubicBezTo>
                <a:cubicBezTo>
                  <a:pt x="189807" y="242806"/>
                  <a:pt x="190048" y="243040"/>
                  <a:pt x="190337" y="243203"/>
                </a:cubicBezTo>
                <a:cubicBezTo>
                  <a:pt x="190626" y="243366"/>
                  <a:pt x="190954" y="243452"/>
                  <a:pt x="191288" y="243453"/>
                </a:cubicBezTo>
                <a:lnTo>
                  <a:pt x="286486" y="243453"/>
                </a:lnTo>
                <a:cubicBezTo>
                  <a:pt x="286819" y="243452"/>
                  <a:pt x="287148" y="243366"/>
                  <a:pt x="287437" y="243203"/>
                </a:cubicBezTo>
                <a:cubicBezTo>
                  <a:pt x="287726" y="243040"/>
                  <a:pt x="287966" y="242806"/>
                  <a:pt x="288134" y="242525"/>
                </a:cubicBezTo>
                <a:cubicBezTo>
                  <a:pt x="288301" y="242243"/>
                  <a:pt x="288390" y="241924"/>
                  <a:pt x="288391" y="241598"/>
                </a:cubicBezTo>
                <a:cubicBezTo>
                  <a:pt x="288392" y="241273"/>
                  <a:pt x="288304" y="240953"/>
                  <a:pt x="288139" y="240670"/>
                </a:cubicBezTo>
                <a:lnTo>
                  <a:pt x="251777" y="179299"/>
                </a:lnTo>
                <a:lnTo>
                  <a:pt x="314790" y="214714"/>
                </a:lnTo>
                <a:cubicBezTo>
                  <a:pt x="315080" y="214879"/>
                  <a:pt x="315410" y="214968"/>
                  <a:pt x="315745" y="214969"/>
                </a:cubicBezTo>
                <a:cubicBezTo>
                  <a:pt x="316081" y="214971"/>
                  <a:pt x="316412" y="214885"/>
                  <a:pt x="316702" y="214721"/>
                </a:cubicBezTo>
                <a:cubicBezTo>
                  <a:pt x="316993" y="214558"/>
                  <a:pt x="317233" y="214321"/>
                  <a:pt x="317399" y="214037"/>
                </a:cubicBezTo>
                <a:cubicBezTo>
                  <a:pt x="317565" y="213753"/>
                  <a:pt x="317651" y="213430"/>
                  <a:pt x="317647" y="213103"/>
                </a:cubicBezTo>
                <a:lnTo>
                  <a:pt x="317647" y="120328"/>
                </a:lnTo>
                <a:cubicBezTo>
                  <a:pt x="317651" y="120000"/>
                  <a:pt x="317565" y="119678"/>
                  <a:pt x="317399" y="119393"/>
                </a:cubicBezTo>
                <a:cubicBezTo>
                  <a:pt x="317233" y="119109"/>
                  <a:pt x="316993" y="118873"/>
                  <a:pt x="316702" y="118709"/>
                </a:cubicBezTo>
                <a:cubicBezTo>
                  <a:pt x="316412" y="118546"/>
                  <a:pt x="316081" y="118460"/>
                  <a:pt x="315745" y="118461"/>
                </a:cubicBezTo>
                <a:cubicBezTo>
                  <a:pt x="315410" y="118463"/>
                  <a:pt x="315080" y="118550"/>
                  <a:pt x="314790" y="118717"/>
                </a:cubicBezTo>
                <a:lnTo>
                  <a:pt x="251777" y="154132"/>
                </a:lnTo>
                <a:lnTo>
                  <a:pt x="288139" y="92760"/>
                </a:lnTo>
                <a:cubicBezTo>
                  <a:pt x="288304" y="92477"/>
                  <a:pt x="288392" y="92157"/>
                  <a:pt x="288391" y="91832"/>
                </a:cubicBezTo>
                <a:cubicBezTo>
                  <a:pt x="288390" y="91507"/>
                  <a:pt x="288301" y="91187"/>
                  <a:pt x="288134" y="90906"/>
                </a:cubicBezTo>
                <a:cubicBezTo>
                  <a:pt x="287966" y="90624"/>
                  <a:pt x="287726" y="90390"/>
                  <a:pt x="287437" y="90227"/>
                </a:cubicBezTo>
                <a:cubicBezTo>
                  <a:pt x="287148" y="90065"/>
                  <a:pt x="286819" y="89979"/>
                  <a:pt x="286486" y="89978"/>
                </a:cubicBezTo>
                <a:close/>
                <a:moveTo>
                  <a:pt x="746614" y="89975"/>
                </a:moveTo>
                <a:lnTo>
                  <a:pt x="819428" y="89975"/>
                </a:lnTo>
                <a:cubicBezTo>
                  <a:pt x="847388" y="89975"/>
                  <a:pt x="863622" y="105142"/>
                  <a:pt x="863622" y="130646"/>
                </a:cubicBezTo>
                <a:lnTo>
                  <a:pt x="863622" y="202837"/>
                </a:lnTo>
                <a:cubicBezTo>
                  <a:pt x="863622" y="228341"/>
                  <a:pt x="847388" y="243508"/>
                  <a:pt x="819428" y="243508"/>
                </a:cubicBezTo>
                <a:lnTo>
                  <a:pt x="746614" y="243508"/>
                </a:lnTo>
                <a:cubicBezTo>
                  <a:pt x="743908" y="243508"/>
                  <a:pt x="743006" y="242630"/>
                  <a:pt x="743006" y="239994"/>
                </a:cubicBezTo>
                <a:lnTo>
                  <a:pt x="743006" y="93489"/>
                </a:lnTo>
                <a:cubicBezTo>
                  <a:pt x="743006" y="90853"/>
                  <a:pt x="743908" y="89975"/>
                  <a:pt x="746614" y="89975"/>
                </a:cubicBezTo>
                <a:close/>
                <a:moveTo>
                  <a:pt x="624298" y="89975"/>
                </a:moveTo>
                <a:lnTo>
                  <a:pt x="721014" y="89975"/>
                </a:lnTo>
                <a:cubicBezTo>
                  <a:pt x="723719" y="89975"/>
                  <a:pt x="724621" y="90853"/>
                  <a:pt x="724621" y="93489"/>
                </a:cubicBezTo>
                <a:lnTo>
                  <a:pt x="724621" y="117455"/>
                </a:lnTo>
                <a:cubicBezTo>
                  <a:pt x="724621" y="120091"/>
                  <a:pt x="723719" y="120969"/>
                  <a:pt x="721014" y="120969"/>
                </a:cubicBezTo>
                <a:lnTo>
                  <a:pt x="654738" y="120969"/>
                </a:lnTo>
                <a:lnTo>
                  <a:pt x="654738" y="154173"/>
                </a:lnTo>
                <a:lnTo>
                  <a:pt x="712656" y="154173"/>
                </a:lnTo>
                <a:cubicBezTo>
                  <a:pt x="715362" y="154173"/>
                  <a:pt x="716263" y="155051"/>
                  <a:pt x="716263" y="157701"/>
                </a:cubicBezTo>
                <a:lnTo>
                  <a:pt x="716263" y="181726"/>
                </a:lnTo>
                <a:cubicBezTo>
                  <a:pt x="716263" y="184361"/>
                  <a:pt x="715362" y="185240"/>
                  <a:pt x="712656" y="185240"/>
                </a:cubicBezTo>
                <a:lnTo>
                  <a:pt x="654738" y="185240"/>
                </a:lnTo>
                <a:lnTo>
                  <a:pt x="654738" y="239994"/>
                </a:lnTo>
                <a:cubicBezTo>
                  <a:pt x="654738" y="242630"/>
                  <a:pt x="653836" y="243508"/>
                  <a:pt x="651130" y="243508"/>
                </a:cubicBezTo>
                <a:lnTo>
                  <a:pt x="624298" y="243508"/>
                </a:lnTo>
                <a:cubicBezTo>
                  <a:pt x="621592" y="243508"/>
                  <a:pt x="620690" y="242630"/>
                  <a:pt x="620690" y="239994"/>
                </a:cubicBezTo>
                <a:lnTo>
                  <a:pt x="620690" y="93489"/>
                </a:lnTo>
                <a:cubicBezTo>
                  <a:pt x="620690" y="90853"/>
                  <a:pt x="621592" y="89975"/>
                  <a:pt x="624298" y="89975"/>
                </a:cubicBezTo>
                <a:close/>
                <a:moveTo>
                  <a:pt x="481496" y="89975"/>
                </a:moveTo>
                <a:lnTo>
                  <a:pt x="554280" y="89975"/>
                </a:lnTo>
                <a:cubicBezTo>
                  <a:pt x="582210" y="89975"/>
                  <a:pt x="598475" y="105142"/>
                  <a:pt x="598519" y="130646"/>
                </a:cubicBezTo>
                <a:lnTo>
                  <a:pt x="598519" y="202837"/>
                </a:lnTo>
                <a:cubicBezTo>
                  <a:pt x="598519" y="228341"/>
                  <a:pt x="582285" y="243508"/>
                  <a:pt x="554325" y="243508"/>
                </a:cubicBezTo>
                <a:lnTo>
                  <a:pt x="481496" y="243508"/>
                </a:lnTo>
                <a:cubicBezTo>
                  <a:pt x="478790" y="243508"/>
                  <a:pt x="477888" y="242630"/>
                  <a:pt x="477888" y="239994"/>
                </a:cubicBezTo>
                <a:lnTo>
                  <a:pt x="477888" y="93489"/>
                </a:lnTo>
                <a:cubicBezTo>
                  <a:pt x="477888" y="90853"/>
                  <a:pt x="478790" y="89975"/>
                  <a:pt x="481496" y="89975"/>
                </a:cubicBezTo>
                <a:close/>
                <a:moveTo>
                  <a:pt x="925345" y="88877"/>
                </a:moveTo>
                <a:cubicBezTo>
                  <a:pt x="949922" y="88877"/>
                  <a:pt x="978107" y="89536"/>
                  <a:pt x="978107" y="89536"/>
                </a:cubicBezTo>
                <a:cubicBezTo>
                  <a:pt x="980812" y="89536"/>
                  <a:pt x="981717" y="90414"/>
                  <a:pt x="981717" y="93050"/>
                </a:cubicBezTo>
                <a:lnTo>
                  <a:pt x="981717" y="117016"/>
                </a:lnTo>
                <a:cubicBezTo>
                  <a:pt x="981717" y="119651"/>
                  <a:pt x="980812" y="120529"/>
                  <a:pt x="978107" y="120529"/>
                </a:cubicBezTo>
                <a:cubicBezTo>
                  <a:pt x="978107" y="120529"/>
                  <a:pt x="952327" y="119870"/>
                  <a:pt x="930005" y="119870"/>
                </a:cubicBezTo>
                <a:cubicBezTo>
                  <a:pt x="919407" y="119870"/>
                  <a:pt x="915123" y="119870"/>
                  <a:pt x="915123" y="130866"/>
                </a:cubicBezTo>
                <a:lnTo>
                  <a:pt x="915123" y="133955"/>
                </a:lnTo>
                <a:cubicBezTo>
                  <a:pt x="915123" y="142080"/>
                  <a:pt x="917152" y="143617"/>
                  <a:pt x="925044" y="146048"/>
                </a:cubicBezTo>
                <a:lnTo>
                  <a:pt x="959990" y="157263"/>
                </a:lnTo>
                <a:cubicBezTo>
                  <a:pt x="974878" y="161874"/>
                  <a:pt x="991080" y="166486"/>
                  <a:pt x="991080" y="194229"/>
                </a:cubicBezTo>
                <a:lnTo>
                  <a:pt x="991080" y="206322"/>
                </a:lnTo>
                <a:cubicBezTo>
                  <a:pt x="991080" y="231796"/>
                  <a:pt x="975173" y="244635"/>
                  <a:pt x="946990" y="244635"/>
                </a:cubicBezTo>
                <a:cubicBezTo>
                  <a:pt x="918806" y="244635"/>
                  <a:pt x="885991" y="243977"/>
                  <a:pt x="885991" y="243977"/>
                </a:cubicBezTo>
                <a:cubicBezTo>
                  <a:pt x="883285" y="243977"/>
                  <a:pt x="882383" y="243098"/>
                  <a:pt x="882383" y="240463"/>
                </a:cubicBezTo>
                <a:lnTo>
                  <a:pt x="882383" y="216497"/>
                </a:lnTo>
                <a:cubicBezTo>
                  <a:pt x="882383" y="213862"/>
                  <a:pt x="883285" y="212969"/>
                  <a:pt x="885991" y="212969"/>
                </a:cubicBezTo>
                <a:cubicBezTo>
                  <a:pt x="885991" y="212969"/>
                  <a:pt x="918205" y="213642"/>
                  <a:pt x="942256" y="213642"/>
                </a:cubicBezTo>
                <a:cubicBezTo>
                  <a:pt x="952856" y="213642"/>
                  <a:pt x="956914" y="212910"/>
                  <a:pt x="956914" y="201930"/>
                </a:cubicBezTo>
                <a:lnTo>
                  <a:pt x="956914" y="198372"/>
                </a:lnTo>
                <a:cubicBezTo>
                  <a:pt x="956914" y="190247"/>
                  <a:pt x="954885" y="188036"/>
                  <a:pt x="946990" y="185620"/>
                </a:cubicBezTo>
                <a:lnTo>
                  <a:pt x="912267" y="174626"/>
                </a:lnTo>
                <a:cubicBezTo>
                  <a:pt x="897159" y="170014"/>
                  <a:pt x="881166" y="165387"/>
                  <a:pt x="881166" y="137908"/>
                </a:cubicBezTo>
                <a:lnTo>
                  <a:pt x="881166" y="126034"/>
                </a:lnTo>
                <a:cubicBezTo>
                  <a:pt x="881166" y="100590"/>
                  <a:pt x="897385" y="88877"/>
                  <a:pt x="925345" y="88877"/>
                </a:cubicBezTo>
                <a:close/>
                <a:moveTo>
                  <a:pt x="199827" y="28"/>
                </a:moveTo>
                <a:lnTo>
                  <a:pt x="475181" y="28"/>
                </a:lnTo>
                <a:cubicBezTo>
                  <a:pt x="475636" y="-44"/>
                  <a:pt x="476102" y="19"/>
                  <a:pt x="476520" y="207"/>
                </a:cubicBezTo>
                <a:cubicBezTo>
                  <a:pt x="476938" y="395"/>
                  <a:pt x="477290" y="701"/>
                  <a:pt x="477528" y="1084"/>
                </a:cubicBezTo>
                <a:cubicBezTo>
                  <a:pt x="477767" y="1468"/>
                  <a:pt x="477883" y="1912"/>
                  <a:pt x="477861" y="2360"/>
                </a:cubicBezTo>
                <a:cubicBezTo>
                  <a:pt x="477839" y="2808"/>
                  <a:pt x="477681" y="3240"/>
                  <a:pt x="477406" y="3600"/>
                </a:cubicBezTo>
                <a:lnTo>
                  <a:pt x="283885" y="330080"/>
                </a:lnTo>
                <a:cubicBezTo>
                  <a:pt x="283348" y="331133"/>
                  <a:pt x="282505" y="332010"/>
                  <a:pt x="281459" y="332601"/>
                </a:cubicBezTo>
                <a:cubicBezTo>
                  <a:pt x="280414" y="333192"/>
                  <a:pt x="279214" y="333470"/>
                  <a:pt x="278008" y="333403"/>
                </a:cubicBezTo>
                <a:lnTo>
                  <a:pt x="2713" y="333403"/>
                </a:lnTo>
                <a:cubicBezTo>
                  <a:pt x="2254" y="333481"/>
                  <a:pt x="1783" y="333422"/>
                  <a:pt x="1359" y="333235"/>
                </a:cubicBezTo>
                <a:cubicBezTo>
                  <a:pt x="935" y="333048"/>
                  <a:pt x="579" y="332740"/>
                  <a:pt x="337" y="332353"/>
                </a:cubicBezTo>
                <a:cubicBezTo>
                  <a:pt x="95" y="331966"/>
                  <a:pt x="-21" y="331517"/>
                  <a:pt x="3" y="331064"/>
                </a:cubicBezTo>
                <a:cubicBezTo>
                  <a:pt x="27" y="330611"/>
                  <a:pt x="191" y="330177"/>
                  <a:pt x="473" y="329816"/>
                </a:cubicBezTo>
                <a:lnTo>
                  <a:pt x="193949" y="3351"/>
                </a:lnTo>
                <a:cubicBezTo>
                  <a:pt x="194486" y="2297"/>
                  <a:pt x="195330" y="1420"/>
                  <a:pt x="196375" y="829"/>
                </a:cubicBezTo>
                <a:cubicBezTo>
                  <a:pt x="197420" y="238"/>
                  <a:pt x="198620" y="-41"/>
                  <a:pt x="199827" y="28"/>
                </a:cubicBezTo>
                <a:close/>
              </a:path>
            </a:pathLst>
          </a:custGeom>
          <a:solidFill>
            <a:schemeClr val="bg1"/>
          </a:solidFill>
        </p:spPr>
        <p:txBody>
          <a:bodyPr wrap="square">
            <a:noAutofit/>
          </a:bodyPr>
          <a:lstStyle>
            <a:lvl1pPr marL="126000" indent="0">
              <a:buFontTx/>
              <a:buNone/>
              <a:defRPr sz="800">
                <a:noFill/>
              </a:defRPr>
            </a:lvl1pPr>
          </a:lstStyle>
          <a:p>
            <a:pPr lvl="0"/>
            <a:r>
              <a:rPr lang="en-GB"/>
              <a:t>Set text to 'No Fill'</a:t>
            </a:r>
          </a:p>
        </p:txBody>
      </p:sp>
    </p:spTree>
    <p:extLst>
      <p:ext uri="{BB962C8B-B14F-4D97-AF65-F5344CB8AC3E}">
        <p14:creationId xmlns:p14="http://schemas.microsoft.com/office/powerpoint/2010/main" val="999688309"/>
      </p:ext>
    </p:extLst>
  </p:cSld>
  <p:clrMapOvr>
    <a:masterClrMapping/>
  </p:clrMapOvr>
  <p:extLst>
    <p:ext uri="{DCECCB84-F9BA-43D5-87BE-67443E8EF086}">
      <p15:sldGuideLst xmlns:p15="http://schemas.microsoft.com/office/powerpoint/2012/main">
        <p15:guide id="1" orient="horz" pos="3737">
          <p15:clr>
            <a:srgbClr val="A4A3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Large Text B (light image)">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C90F6AAB-D0E6-B762-FA29-1565927AF00D}"/>
              </a:ext>
            </a:extLst>
          </p:cNvPr>
          <p:cNvSpPr>
            <a:spLocks noGrp="1"/>
          </p:cNvSpPr>
          <p:nvPr>
            <p:ph type="pic" sz="quarter" idx="18" hasCustomPrompt="1"/>
          </p:nvPr>
        </p:nvSpPr>
        <p:spPr>
          <a:xfrm>
            <a:off x="0" y="0"/>
            <a:ext cx="12192000" cy="6858000"/>
          </a:xfrm>
          <a:custGeom>
            <a:avLst/>
            <a:gdLst>
              <a:gd name="connsiteX0" fmla="*/ 0 w 12195988"/>
              <a:gd name="connsiteY0" fmla="*/ 0 h 6858000"/>
              <a:gd name="connsiteX1" fmla="*/ 2788 w 12195988"/>
              <a:gd name="connsiteY1" fmla="*/ 0 h 6858000"/>
              <a:gd name="connsiteX2" fmla="*/ 12193200 w 12195988"/>
              <a:gd name="connsiteY2" fmla="*/ 0 h 6858000"/>
              <a:gd name="connsiteX3" fmla="*/ 12194788 w 12195988"/>
              <a:gd name="connsiteY3" fmla="*/ 0 h 6858000"/>
              <a:gd name="connsiteX4" fmla="*/ 12195988 w 12195988"/>
              <a:gd name="connsiteY4" fmla="*/ 0 h 6858000"/>
              <a:gd name="connsiteX5" fmla="*/ 12195988 w 12195988"/>
              <a:gd name="connsiteY5" fmla="*/ 6858000 h 6858000"/>
              <a:gd name="connsiteX6" fmla="*/ 12194788 w 12195988"/>
              <a:gd name="connsiteY6" fmla="*/ 6858000 h 6858000"/>
              <a:gd name="connsiteX7" fmla="*/ 12193200 w 12195988"/>
              <a:gd name="connsiteY7" fmla="*/ 6858000 h 6858000"/>
              <a:gd name="connsiteX8" fmla="*/ 2788 w 12195988"/>
              <a:gd name="connsiteY8" fmla="*/ 6858000 h 6858000"/>
              <a:gd name="connsiteX9" fmla="*/ 0 w 12195988"/>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5988" h="6858000">
                <a:moveTo>
                  <a:pt x="0" y="0"/>
                </a:moveTo>
                <a:lnTo>
                  <a:pt x="2788" y="0"/>
                </a:lnTo>
                <a:lnTo>
                  <a:pt x="12193200" y="0"/>
                </a:lnTo>
                <a:lnTo>
                  <a:pt x="12194788" y="0"/>
                </a:lnTo>
                <a:lnTo>
                  <a:pt x="12195988" y="0"/>
                </a:lnTo>
                <a:lnTo>
                  <a:pt x="12195988" y="6858000"/>
                </a:lnTo>
                <a:lnTo>
                  <a:pt x="12194788" y="6858000"/>
                </a:lnTo>
                <a:lnTo>
                  <a:pt x="12193200" y="6858000"/>
                </a:lnTo>
                <a:lnTo>
                  <a:pt x="2788" y="6858000"/>
                </a:lnTo>
                <a:lnTo>
                  <a:pt x="0" y="6858000"/>
                </a:lnTo>
                <a:close/>
              </a:path>
            </a:pathLst>
          </a:custGeom>
          <a:solidFill>
            <a:schemeClr val="bg1">
              <a:lumMod val="95000"/>
            </a:schemeClr>
          </a:solidFill>
        </p:spPr>
        <p:txBody>
          <a:bodyPr wrap="square" bIns="648000" anchor="ctr">
            <a:noAutofit/>
          </a:bodyPr>
          <a:lstStyle>
            <a:lvl1pPr marL="126000" indent="0" algn="ctr">
              <a:buNone/>
              <a:defRPr/>
            </a:lvl1pPr>
          </a:lstStyle>
          <a:p>
            <a:r>
              <a:rPr lang="en-GB"/>
              <a:t>Click on frame and insert light picture using the Insert tab, Pictures</a:t>
            </a:r>
          </a:p>
        </p:txBody>
      </p:sp>
      <p:sp>
        <p:nvSpPr>
          <p:cNvPr id="2" name="Title 1">
            <a:extLst>
              <a:ext uri="{FF2B5EF4-FFF2-40B4-BE49-F238E27FC236}">
                <a16:creationId xmlns:a16="http://schemas.microsoft.com/office/drawing/2014/main" id="{24C9D909-49D5-40E7-8A46-904F4218013D}"/>
              </a:ext>
            </a:extLst>
          </p:cNvPr>
          <p:cNvSpPr>
            <a:spLocks noGrp="1"/>
          </p:cNvSpPr>
          <p:nvPr>
            <p:ph type="title" hasCustomPrompt="1"/>
          </p:nvPr>
        </p:nvSpPr>
        <p:spPr>
          <a:xfrm>
            <a:off x="266700" y="271462"/>
            <a:ext cx="11653838" cy="5661026"/>
          </a:xfrm>
        </p:spPr>
        <p:txBody>
          <a:bodyPr anchor="b"/>
          <a:lstStyle>
            <a:lvl1pPr>
              <a:defRPr sz="4500">
                <a:solidFill>
                  <a:schemeClr val="accent1"/>
                </a:solidFill>
              </a:defRPr>
            </a:lvl1pPr>
          </a:lstStyle>
          <a:p>
            <a:r>
              <a:rPr lang="en-GB"/>
              <a:t>Click to add title</a:t>
            </a:r>
          </a:p>
        </p:txBody>
      </p:sp>
      <p:sp>
        <p:nvSpPr>
          <p:cNvPr id="3" name="Date Placeholder 2">
            <a:extLst>
              <a:ext uri="{FF2B5EF4-FFF2-40B4-BE49-F238E27FC236}">
                <a16:creationId xmlns:a16="http://schemas.microsoft.com/office/drawing/2014/main" id="{567012D6-48ED-4B03-85DE-25086AACDB85}"/>
              </a:ext>
            </a:extLst>
          </p:cNvPr>
          <p:cNvSpPr>
            <a:spLocks noGrp="1"/>
          </p:cNvSpPr>
          <p:nvPr>
            <p:ph type="dt" sz="half" idx="10"/>
          </p:nvPr>
        </p:nvSpPr>
        <p:spPr>
          <a:xfrm>
            <a:off x="0" y="6858000"/>
            <a:ext cx="0" cy="0"/>
          </a:xfrm>
          <a:prstGeom prst="rect">
            <a:avLst/>
          </a:prstGeom>
        </p:spPr>
        <p:txBody>
          <a:bodyPr/>
          <a:lstStyle>
            <a:lvl1pPr>
              <a:defRPr sz="100">
                <a:noFill/>
              </a:defRPr>
            </a:lvl1pPr>
          </a:lstStyle>
          <a:p>
            <a:fld id="{EB5B3ABD-14C4-4A12-A637-9CB7153318F2}" type="datetime4">
              <a:rPr lang="en-GB" smtClean="0"/>
              <a:t>20 February 2025</a:t>
            </a:fld>
            <a:endParaRPr lang="en-GB"/>
          </a:p>
        </p:txBody>
      </p:sp>
      <p:sp>
        <p:nvSpPr>
          <p:cNvPr id="4" name="Footer Placeholder 3">
            <a:extLst>
              <a:ext uri="{FF2B5EF4-FFF2-40B4-BE49-F238E27FC236}">
                <a16:creationId xmlns:a16="http://schemas.microsoft.com/office/drawing/2014/main" id="{E57AB716-0309-754C-0B7E-73C48AD71CAD}"/>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CC321AA5-6588-9A37-5A5C-D63E7CD1804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6" name="Text Placeholder 15">
            <a:extLst>
              <a:ext uri="{FF2B5EF4-FFF2-40B4-BE49-F238E27FC236}">
                <a16:creationId xmlns:a16="http://schemas.microsoft.com/office/drawing/2014/main" id="{FB87CD13-8068-0FAF-0517-DFEC00D5E6D9}"/>
              </a:ext>
            </a:extLst>
          </p:cNvPr>
          <p:cNvSpPr>
            <a:spLocks noGrp="1"/>
          </p:cNvSpPr>
          <p:nvPr>
            <p:ph type="body" sz="quarter" idx="19" hasCustomPrompt="1"/>
          </p:nvPr>
        </p:nvSpPr>
        <p:spPr>
          <a:xfrm>
            <a:off x="10929943" y="6253136"/>
            <a:ext cx="991080" cy="333436"/>
          </a:xfrm>
          <a:custGeom>
            <a:avLst/>
            <a:gdLst>
              <a:gd name="connsiteX0" fmla="*/ 777113 w 991080"/>
              <a:gd name="connsiteY0" fmla="*/ 120969 h 333436"/>
              <a:gd name="connsiteX1" fmla="*/ 777113 w 991080"/>
              <a:gd name="connsiteY1" fmla="*/ 212441 h 333436"/>
              <a:gd name="connsiteX2" fmla="*/ 814693 w 991080"/>
              <a:gd name="connsiteY2" fmla="*/ 212441 h 333436"/>
              <a:gd name="connsiteX3" fmla="*/ 829575 w 991080"/>
              <a:gd name="connsiteY3" fmla="*/ 197054 h 333436"/>
              <a:gd name="connsiteX4" fmla="*/ 829575 w 991080"/>
              <a:gd name="connsiteY4" fmla="*/ 136370 h 333436"/>
              <a:gd name="connsiteX5" fmla="*/ 814693 w 991080"/>
              <a:gd name="connsiteY5" fmla="*/ 120969 h 333436"/>
              <a:gd name="connsiteX6" fmla="*/ 511966 w 991080"/>
              <a:gd name="connsiteY6" fmla="*/ 120969 h 333436"/>
              <a:gd name="connsiteX7" fmla="*/ 511966 w 991080"/>
              <a:gd name="connsiteY7" fmla="*/ 212441 h 333436"/>
              <a:gd name="connsiteX8" fmla="*/ 549546 w 991080"/>
              <a:gd name="connsiteY8" fmla="*/ 212441 h 333436"/>
              <a:gd name="connsiteX9" fmla="*/ 564426 w 991080"/>
              <a:gd name="connsiteY9" fmla="*/ 197054 h 333436"/>
              <a:gd name="connsiteX10" fmla="*/ 564426 w 991080"/>
              <a:gd name="connsiteY10" fmla="*/ 136370 h 333436"/>
              <a:gd name="connsiteX11" fmla="*/ 549546 w 991080"/>
              <a:gd name="connsiteY11" fmla="*/ 120969 h 333436"/>
              <a:gd name="connsiteX12" fmla="*/ 191228 w 991080"/>
              <a:gd name="connsiteY12" fmla="*/ 89978 h 333436"/>
              <a:gd name="connsiteX13" fmla="*/ 190277 w 991080"/>
              <a:gd name="connsiteY13" fmla="*/ 90227 h 333436"/>
              <a:gd name="connsiteX14" fmla="*/ 189581 w 991080"/>
              <a:gd name="connsiteY14" fmla="*/ 90906 h 333436"/>
              <a:gd name="connsiteX15" fmla="*/ 189323 w 991080"/>
              <a:gd name="connsiteY15" fmla="*/ 91832 h 333436"/>
              <a:gd name="connsiteX16" fmla="*/ 189575 w 991080"/>
              <a:gd name="connsiteY16" fmla="*/ 92760 h 333436"/>
              <a:gd name="connsiteX17" fmla="*/ 225952 w 991080"/>
              <a:gd name="connsiteY17" fmla="*/ 154132 h 333436"/>
              <a:gd name="connsiteX18" fmla="*/ 162923 w 991080"/>
              <a:gd name="connsiteY18" fmla="*/ 118717 h 333436"/>
              <a:gd name="connsiteX19" fmla="*/ 161970 w 991080"/>
              <a:gd name="connsiteY19" fmla="*/ 118472 h 333436"/>
              <a:gd name="connsiteX20" fmla="*/ 161020 w 991080"/>
              <a:gd name="connsiteY20" fmla="*/ 118722 h 333436"/>
              <a:gd name="connsiteX21" fmla="*/ 160324 w 991080"/>
              <a:gd name="connsiteY21" fmla="*/ 119401 h 333436"/>
              <a:gd name="connsiteX22" fmla="*/ 160067 w 991080"/>
              <a:gd name="connsiteY22" fmla="*/ 120328 h 333436"/>
              <a:gd name="connsiteX23" fmla="*/ 160067 w 991080"/>
              <a:gd name="connsiteY23" fmla="*/ 213103 h 333436"/>
              <a:gd name="connsiteX24" fmla="*/ 160324 w 991080"/>
              <a:gd name="connsiteY24" fmla="*/ 214030 h 333436"/>
              <a:gd name="connsiteX25" fmla="*/ 161020 w 991080"/>
              <a:gd name="connsiteY25" fmla="*/ 214708 h 333436"/>
              <a:gd name="connsiteX26" fmla="*/ 161970 w 991080"/>
              <a:gd name="connsiteY26" fmla="*/ 214959 h 333436"/>
              <a:gd name="connsiteX27" fmla="*/ 162923 w 991080"/>
              <a:gd name="connsiteY27" fmla="*/ 214714 h 333436"/>
              <a:gd name="connsiteX28" fmla="*/ 225952 w 991080"/>
              <a:gd name="connsiteY28" fmla="*/ 179299 h 333436"/>
              <a:gd name="connsiteX29" fmla="*/ 189635 w 991080"/>
              <a:gd name="connsiteY29" fmla="*/ 240670 h 333436"/>
              <a:gd name="connsiteX30" fmla="*/ 189383 w 991080"/>
              <a:gd name="connsiteY30" fmla="*/ 241598 h 333436"/>
              <a:gd name="connsiteX31" fmla="*/ 189641 w 991080"/>
              <a:gd name="connsiteY31" fmla="*/ 242525 h 333436"/>
              <a:gd name="connsiteX32" fmla="*/ 190337 w 991080"/>
              <a:gd name="connsiteY32" fmla="*/ 243203 h 333436"/>
              <a:gd name="connsiteX33" fmla="*/ 191288 w 991080"/>
              <a:gd name="connsiteY33" fmla="*/ 243453 h 333436"/>
              <a:gd name="connsiteX34" fmla="*/ 286486 w 991080"/>
              <a:gd name="connsiteY34" fmla="*/ 243453 h 333436"/>
              <a:gd name="connsiteX35" fmla="*/ 287437 w 991080"/>
              <a:gd name="connsiteY35" fmla="*/ 243203 h 333436"/>
              <a:gd name="connsiteX36" fmla="*/ 288134 w 991080"/>
              <a:gd name="connsiteY36" fmla="*/ 242525 h 333436"/>
              <a:gd name="connsiteX37" fmla="*/ 288391 w 991080"/>
              <a:gd name="connsiteY37" fmla="*/ 241598 h 333436"/>
              <a:gd name="connsiteX38" fmla="*/ 288139 w 991080"/>
              <a:gd name="connsiteY38" fmla="*/ 240670 h 333436"/>
              <a:gd name="connsiteX39" fmla="*/ 251777 w 991080"/>
              <a:gd name="connsiteY39" fmla="*/ 179299 h 333436"/>
              <a:gd name="connsiteX40" fmla="*/ 314790 w 991080"/>
              <a:gd name="connsiteY40" fmla="*/ 214714 h 333436"/>
              <a:gd name="connsiteX41" fmla="*/ 315745 w 991080"/>
              <a:gd name="connsiteY41" fmla="*/ 214969 h 333436"/>
              <a:gd name="connsiteX42" fmla="*/ 316702 w 991080"/>
              <a:gd name="connsiteY42" fmla="*/ 214721 h 333436"/>
              <a:gd name="connsiteX43" fmla="*/ 317399 w 991080"/>
              <a:gd name="connsiteY43" fmla="*/ 214037 h 333436"/>
              <a:gd name="connsiteX44" fmla="*/ 317647 w 991080"/>
              <a:gd name="connsiteY44" fmla="*/ 213103 h 333436"/>
              <a:gd name="connsiteX45" fmla="*/ 317647 w 991080"/>
              <a:gd name="connsiteY45" fmla="*/ 120328 h 333436"/>
              <a:gd name="connsiteX46" fmla="*/ 317399 w 991080"/>
              <a:gd name="connsiteY46" fmla="*/ 119393 h 333436"/>
              <a:gd name="connsiteX47" fmla="*/ 316702 w 991080"/>
              <a:gd name="connsiteY47" fmla="*/ 118709 h 333436"/>
              <a:gd name="connsiteX48" fmla="*/ 315745 w 991080"/>
              <a:gd name="connsiteY48" fmla="*/ 118461 h 333436"/>
              <a:gd name="connsiteX49" fmla="*/ 314790 w 991080"/>
              <a:gd name="connsiteY49" fmla="*/ 118717 h 333436"/>
              <a:gd name="connsiteX50" fmla="*/ 251777 w 991080"/>
              <a:gd name="connsiteY50" fmla="*/ 154132 h 333436"/>
              <a:gd name="connsiteX51" fmla="*/ 288139 w 991080"/>
              <a:gd name="connsiteY51" fmla="*/ 92760 h 333436"/>
              <a:gd name="connsiteX52" fmla="*/ 288391 w 991080"/>
              <a:gd name="connsiteY52" fmla="*/ 91832 h 333436"/>
              <a:gd name="connsiteX53" fmla="*/ 288134 w 991080"/>
              <a:gd name="connsiteY53" fmla="*/ 90906 h 333436"/>
              <a:gd name="connsiteX54" fmla="*/ 287437 w 991080"/>
              <a:gd name="connsiteY54" fmla="*/ 90227 h 333436"/>
              <a:gd name="connsiteX55" fmla="*/ 286486 w 991080"/>
              <a:gd name="connsiteY55" fmla="*/ 89978 h 333436"/>
              <a:gd name="connsiteX56" fmla="*/ 746614 w 991080"/>
              <a:gd name="connsiteY56" fmla="*/ 89975 h 333436"/>
              <a:gd name="connsiteX57" fmla="*/ 819428 w 991080"/>
              <a:gd name="connsiteY57" fmla="*/ 89975 h 333436"/>
              <a:gd name="connsiteX58" fmla="*/ 863622 w 991080"/>
              <a:gd name="connsiteY58" fmla="*/ 130646 h 333436"/>
              <a:gd name="connsiteX59" fmla="*/ 863622 w 991080"/>
              <a:gd name="connsiteY59" fmla="*/ 202837 h 333436"/>
              <a:gd name="connsiteX60" fmla="*/ 819428 w 991080"/>
              <a:gd name="connsiteY60" fmla="*/ 243508 h 333436"/>
              <a:gd name="connsiteX61" fmla="*/ 746614 w 991080"/>
              <a:gd name="connsiteY61" fmla="*/ 243508 h 333436"/>
              <a:gd name="connsiteX62" fmla="*/ 743006 w 991080"/>
              <a:gd name="connsiteY62" fmla="*/ 239994 h 333436"/>
              <a:gd name="connsiteX63" fmla="*/ 743006 w 991080"/>
              <a:gd name="connsiteY63" fmla="*/ 93489 h 333436"/>
              <a:gd name="connsiteX64" fmla="*/ 746614 w 991080"/>
              <a:gd name="connsiteY64" fmla="*/ 89975 h 333436"/>
              <a:gd name="connsiteX65" fmla="*/ 624298 w 991080"/>
              <a:gd name="connsiteY65" fmla="*/ 89975 h 333436"/>
              <a:gd name="connsiteX66" fmla="*/ 721014 w 991080"/>
              <a:gd name="connsiteY66" fmla="*/ 89975 h 333436"/>
              <a:gd name="connsiteX67" fmla="*/ 724621 w 991080"/>
              <a:gd name="connsiteY67" fmla="*/ 93489 h 333436"/>
              <a:gd name="connsiteX68" fmla="*/ 724621 w 991080"/>
              <a:gd name="connsiteY68" fmla="*/ 117455 h 333436"/>
              <a:gd name="connsiteX69" fmla="*/ 721014 w 991080"/>
              <a:gd name="connsiteY69" fmla="*/ 120969 h 333436"/>
              <a:gd name="connsiteX70" fmla="*/ 654738 w 991080"/>
              <a:gd name="connsiteY70" fmla="*/ 120969 h 333436"/>
              <a:gd name="connsiteX71" fmla="*/ 654738 w 991080"/>
              <a:gd name="connsiteY71" fmla="*/ 154173 h 333436"/>
              <a:gd name="connsiteX72" fmla="*/ 712656 w 991080"/>
              <a:gd name="connsiteY72" fmla="*/ 154173 h 333436"/>
              <a:gd name="connsiteX73" fmla="*/ 716263 w 991080"/>
              <a:gd name="connsiteY73" fmla="*/ 157701 h 333436"/>
              <a:gd name="connsiteX74" fmla="*/ 716263 w 991080"/>
              <a:gd name="connsiteY74" fmla="*/ 181726 h 333436"/>
              <a:gd name="connsiteX75" fmla="*/ 712656 w 991080"/>
              <a:gd name="connsiteY75" fmla="*/ 185240 h 333436"/>
              <a:gd name="connsiteX76" fmla="*/ 654738 w 991080"/>
              <a:gd name="connsiteY76" fmla="*/ 185240 h 333436"/>
              <a:gd name="connsiteX77" fmla="*/ 654738 w 991080"/>
              <a:gd name="connsiteY77" fmla="*/ 239994 h 333436"/>
              <a:gd name="connsiteX78" fmla="*/ 651130 w 991080"/>
              <a:gd name="connsiteY78" fmla="*/ 243508 h 333436"/>
              <a:gd name="connsiteX79" fmla="*/ 624298 w 991080"/>
              <a:gd name="connsiteY79" fmla="*/ 243508 h 333436"/>
              <a:gd name="connsiteX80" fmla="*/ 620690 w 991080"/>
              <a:gd name="connsiteY80" fmla="*/ 239994 h 333436"/>
              <a:gd name="connsiteX81" fmla="*/ 620690 w 991080"/>
              <a:gd name="connsiteY81" fmla="*/ 93489 h 333436"/>
              <a:gd name="connsiteX82" fmla="*/ 624298 w 991080"/>
              <a:gd name="connsiteY82" fmla="*/ 89975 h 333436"/>
              <a:gd name="connsiteX83" fmla="*/ 481496 w 991080"/>
              <a:gd name="connsiteY83" fmla="*/ 89975 h 333436"/>
              <a:gd name="connsiteX84" fmla="*/ 554280 w 991080"/>
              <a:gd name="connsiteY84" fmla="*/ 89975 h 333436"/>
              <a:gd name="connsiteX85" fmla="*/ 598519 w 991080"/>
              <a:gd name="connsiteY85" fmla="*/ 130646 h 333436"/>
              <a:gd name="connsiteX86" fmla="*/ 598519 w 991080"/>
              <a:gd name="connsiteY86" fmla="*/ 202837 h 333436"/>
              <a:gd name="connsiteX87" fmla="*/ 554325 w 991080"/>
              <a:gd name="connsiteY87" fmla="*/ 243508 h 333436"/>
              <a:gd name="connsiteX88" fmla="*/ 481496 w 991080"/>
              <a:gd name="connsiteY88" fmla="*/ 243508 h 333436"/>
              <a:gd name="connsiteX89" fmla="*/ 477888 w 991080"/>
              <a:gd name="connsiteY89" fmla="*/ 239994 h 333436"/>
              <a:gd name="connsiteX90" fmla="*/ 477888 w 991080"/>
              <a:gd name="connsiteY90" fmla="*/ 93489 h 333436"/>
              <a:gd name="connsiteX91" fmla="*/ 481496 w 991080"/>
              <a:gd name="connsiteY91" fmla="*/ 89975 h 333436"/>
              <a:gd name="connsiteX92" fmla="*/ 925345 w 991080"/>
              <a:gd name="connsiteY92" fmla="*/ 88877 h 333436"/>
              <a:gd name="connsiteX93" fmla="*/ 978107 w 991080"/>
              <a:gd name="connsiteY93" fmla="*/ 89536 h 333436"/>
              <a:gd name="connsiteX94" fmla="*/ 981717 w 991080"/>
              <a:gd name="connsiteY94" fmla="*/ 93050 h 333436"/>
              <a:gd name="connsiteX95" fmla="*/ 981717 w 991080"/>
              <a:gd name="connsiteY95" fmla="*/ 117016 h 333436"/>
              <a:gd name="connsiteX96" fmla="*/ 978107 w 991080"/>
              <a:gd name="connsiteY96" fmla="*/ 120529 h 333436"/>
              <a:gd name="connsiteX97" fmla="*/ 930005 w 991080"/>
              <a:gd name="connsiteY97" fmla="*/ 119870 h 333436"/>
              <a:gd name="connsiteX98" fmla="*/ 915123 w 991080"/>
              <a:gd name="connsiteY98" fmla="*/ 130866 h 333436"/>
              <a:gd name="connsiteX99" fmla="*/ 915123 w 991080"/>
              <a:gd name="connsiteY99" fmla="*/ 133955 h 333436"/>
              <a:gd name="connsiteX100" fmla="*/ 925044 w 991080"/>
              <a:gd name="connsiteY100" fmla="*/ 146048 h 333436"/>
              <a:gd name="connsiteX101" fmla="*/ 959990 w 991080"/>
              <a:gd name="connsiteY101" fmla="*/ 157263 h 333436"/>
              <a:gd name="connsiteX102" fmla="*/ 991080 w 991080"/>
              <a:gd name="connsiteY102" fmla="*/ 194229 h 333436"/>
              <a:gd name="connsiteX103" fmla="*/ 991080 w 991080"/>
              <a:gd name="connsiteY103" fmla="*/ 206322 h 333436"/>
              <a:gd name="connsiteX104" fmla="*/ 946990 w 991080"/>
              <a:gd name="connsiteY104" fmla="*/ 244635 h 333436"/>
              <a:gd name="connsiteX105" fmla="*/ 885991 w 991080"/>
              <a:gd name="connsiteY105" fmla="*/ 243977 h 333436"/>
              <a:gd name="connsiteX106" fmla="*/ 882383 w 991080"/>
              <a:gd name="connsiteY106" fmla="*/ 240463 h 333436"/>
              <a:gd name="connsiteX107" fmla="*/ 882383 w 991080"/>
              <a:gd name="connsiteY107" fmla="*/ 216497 h 333436"/>
              <a:gd name="connsiteX108" fmla="*/ 885991 w 991080"/>
              <a:gd name="connsiteY108" fmla="*/ 212969 h 333436"/>
              <a:gd name="connsiteX109" fmla="*/ 942256 w 991080"/>
              <a:gd name="connsiteY109" fmla="*/ 213642 h 333436"/>
              <a:gd name="connsiteX110" fmla="*/ 956914 w 991080"/>
              <a:gd name="connsiteY110" fmla="*/ 201930 h 333436"/>
              <a:gd name="connsiteX111" fmla="*/ 956914 w 991080"/>
              <a:gd name="connsiteY111" fmla="*/ 198372 h 333436"/>
              <a:gd name="connsiteX112" fmla="*/ 946990 w 991080"/>
              <a:gd name="connsiteY112" fmla="*/ 185620 h 333436"/>
              <a:gd name="connsiteX113" fmla="*/ 912267 w 991080"/>
              <a:gd name="connsiteY113" fmla="*/ 174626 h 333436"/>
              <a:gd name="connsiteX114" fmla="*/ 881166 w 991080"/>
              <a:gd name="connsiteY114" fmla="*/ 137908 h 333436"/>
              <a:gd name="connsiteX115" fmla="*/ 881166 w 991080"/>
              <a:gd name="connsiteY115" fmla="*/ 126034 h 333436"/>
              <a:gd name="connsiteX116" fmla="*/ 925345 w 991080"/>
              <a:gd name="connsiteY116" fmla="*/ 88877 h 333436"/>
              <a:gd name="connsiteX117" fmla="*/ 199827 w 991080"/>
              <a:gd name="connsiteY117" fmla="*/ 28 h 333436"/>
              <a:gd name="connsiteX118" fmla="*/ 475181 w 991080"/>
              <a:gd name="connsiteY118" fmla="*/ 28 h 333436"/>
              <a:gd name="connsiteX119" fmla="*/ 476520 w 991080"/>
              <a:gd name="connsiteY119" fmla="*/ 207 h 333436"/>
              <a:gd name="connsiteX120" fmla="*/ 477528 w 991080"/>
              <a:gd name="connsiteY120" fmla="*/ 1084 h 333436"/>
              <a:gd name="connsiteX121" fmla="*/ 477861 w 991080"/>
              <a:gd name="connsiteY121" fmla="*/ 2360 h 333436"/>
              <a:gd name="connsiteX122" fmla="*/ 477406 w 991080"/>
              <a:gd name="connsiteY122" fmla="*/ 3600 h 333436"/>
              <a:gd name="connsiteX123" fmla="*/ 283885 w 991080"/>
              <a:gd name="connsiteY123" fmla="*/ 330080 h 333436"/>
              <a:gd name="connsiteX124" fmla="*/ 281459 w 991080"/>
              <a:gd name="connsiteY124" fmla="*/ 332601 h 333436"/>
              <a:gd name="connsiteX125" fmla="*/ 278008 w 991080"/>
              <a:gd name="connsiteY125" fmla="*/ 333403 h 333436"/>
              <a:gd name="connsiteX126" fmla="*/ 2713 w 991080"/>
              <a:gd name="connsiteY126" fmla="*/ 333403 h 333436"/>
              <a:gd name="connsiteX127" fmla="*/ 1359 w 991080"/>
              <a:gd name="connsiteY127" fmla="*/ 333235 h 333436"/>
              <a:gd name="connsiteX128" fmla="*/ 337 w 991080"/>
              <a:gd name="connsiteY128" fmla="*/ 332353 h 333436"/>
              <a:gd name="connsiteX129" fmla="*/ 3 w 991080"/>
              <a:gd name="connsiteY129" fmla="*/ 331064 h 333436"/>
              <a:gd name="connsiteX130" fmla="*/ 473 w 991080"/>
              <a:gd name="connsiteY130" fmla="*/ 329816 h 333436"/>
              <a:gd name="connsiteX131" fmla="*/ 193949 w 991080"/>
              <a:gd name="connsiteY131" fmla="*/ 3351 h 333436"/>
              <a:gd name="connsiteX132" fmla="*/ 196375 w 991080"/>
              <a:gd name="connsiteY132" fmla="*/ 829 h 333436"/>
              <a:gd name="connsiteX133" fmla="*/ 199827 w 991080"/>
              <a:gd name="connsiteY133" fmla="*/ 28 h 333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Lst>
            <a:rect l="l" t="t" r="r" b="b"/>
            <a:pathLst>
              <a:path w="991080" h="333436">
                <a:moveTo>
                  <a:pt x="777113" y="120969"/>
                </a:moveTo>
                <a:lnTo>
                  <a:pt x="777113" y="212441"/>
                </a:lnTo>
                <a:lnTo>
                  <a:pt x="814693" y="212441"/>
                </a:lnTo>
                <a:cubicBezTo>
                  <a:pt x="825291" y="212441"/>
                  <a:pt x="829575" y="208049"/>
                  <a:pt x="829575" y="197054"/>
                </a:cubicBezTo>
                <a:lnTo>
                  <a:pt x="829575" y="136370"/>
                </a:lnTo>
                <a:cubicBezTo>
                  <a:pt x="829575" y="125361"/>
                  <a:pt x="825291" y="120969"/>
                  <a:pt x="814693" y="120969"/>
                </a:cubicBezTo>
                <a:close/>
                <a:moveTo>
                  <a:pt x="511966" y="120969"/>
                </a:moveTo>
                <a:lnTo>
                  <a:pt x="511966" y="212441"/>
                </a:lnTo>
                <a:lnTo>
                  <a:pt x="549546" y="212441"/>
                </a:lnTo>
                <a:cubicBezTo>
                  <a:pt x="560143" y="212441"/>
                  <a:pt x="564426" y="208049"/>
                  <a:pt x="564426" y="197054"/>
                </a:cubicBezTo>
                <a:lnTo>
                  <a:pt x="564426" y="136370"/>
                </a:lnTo>
                <a:cubicBezTo>
                  <a:pt x="564426" y="125361"/>
                  <a:pt x="560143" y="120969"/>
                  <a:pt x="549546" y="120969"/>
                </a:cubicBezTo>
                <a:close/>
                <a:moveTo>
                  <a:pt x="191228" y="89978"/>
                </a:moveTo>
                <a:cubicBezTo>
                  <a:pt x="190894" y="89979"/>
                  <a:pt x="190566" y="90065"/>
                  <a:pt x="190277" y="90227"/>
                </a:cubicBezTo>
                <a:cubicBezTo>
                  <a:pt x="189988" y="90390"/>
                  <a:pt x="189747" y="90624"/>
                  <a:pt x="189581" y="90906"/>
                </a:cubicBezTo>
                <a:cubicBezTo>
                  <a:pt x="189413" y="91187"/>
                  <a:pt x="189324" y="91507"/>
                  <a:pt x="189323" y="91832"/>
                </a:cubicBezTo>
                <a:cubicBezTo>
                  <a:pt x="189322" y="92157"/>
                  <a:pt x="189409" y="92477"/>
                  <a:pt x="189575" y="92760"/>
                </a:cubicBezTo>
                <a:lnTo>
                  <a:pt x="225952" y="154132"/>
                </a:lnTo>
                <a:lnTo>
                  <a:pt x="162923" y="118717"/>
                </a:lnTo>
                <a:cubicBezTo>
                  <a:pt x="162633" y="118555"/>
                  <a:pt x="162305" y="118471"/>
                  <a:pt x="161970" y="118472"/>
                </a:cubicBezTo>
                <a:cubicBezTo>
                  <a:pt x="161637" y="118473"/>
                  <a:pt x="161308" y="118559"/>
                  <a:pt x="161020" y="118722"/>
                </a:cubicBezTo>
                <a:cubicBezTo>
                  <a:pt x="160730" y="118886"/>
                  <a:pt x="160490" y="119119"/>
                  <a:pt x="160324" y="119401"/>
                </a:cubicBezTo>
                <a:cubicBezTo>
                  <a:pt x="160156" y="119683"/>
                  <a:pt x="160067" y="120002"/>
                  <a:pt x="160067" y="120328"/>
                </a:cubicBezTo>
                <a:lnTo>
                  <a:pt x="160067" y="213103"/>
                </a:lnTo>
                <a:cubicBezTo>
                  <a:pt x="160067" y="213429"/>
                  <a:pt x="160156" y="213748"/>
                  <a:pt x="160324" y="214030"/>
                </a:cubicBezTo>
                <a:cubicBezTo>
                  <a:pt x="160490" y="214311"/>
                  <a:pt x="160730" y="214545"/>
                  <a:pt x="161020" y="214708"/>
                </a:cubicBezTo>
                <a:cubicBezTo>
                  <a:pt x="161308" y="214871"/>
                  <a:pt x="161637" y="214958"/>
                  <a:pt x="161970" y="214959"/>
                </a:cubicBezTo>
                <a:cubicBezTo>
                  <a:pt x="162305" y="214959"/>
                  <a:pt x="162633" y="214875"/>
                  <a:pt x="162923" y="214714"/>
                </a:cubicBezTo>
                <a:lnTo>
                  <a:pt x="225952" y="179299"/>
                </a:lnTo>
                <a:lnTo>
                  <a:pt x="189635" y="240670"/>
                </a:lnTo>
                <a:cubicBezTo>
                  <a:pt x="189469" y="240953"/>
                  <a:pt x="189382" y="241273"/>
                  <a:pt x="189383" y="241598"/>
                </a:cubicBezTo>
                <a:cubicBezTo>
                  <a:pt x="189384" y="241924"/>
                  <a:pt x="189473" y="242243"/>
                  <a:pt x="189641" y="242525"/>
                </a:cubicBezTo>
                <a:cubicBezTo>
                  <a:pt x="189807" y="242806"/>
                  <a:pt x="190048" y="243040"/>
                  <a:pt x="190337" y="243203"/>
                </a:cubicBezTo>
                <a:cubicBezTo>
                  <a:pt x="190626" y="243366"/>
                  <a:pt x="190954" y="243452"/>
                  <a:pt x="191288" y="243453"/>
                </a:cubicBezTo>
                <a:lnTo>
                  <a:pt x="286486" y="243453"/>
                </a:lnTo>
                <a:cubicBezTo>
                  <a:pt x="286819" y="243452"/>
                  <a:pt x="287148" y="243366"/>
                  <a:pt x="287437" y="243203"/>
                </a:cubicBezTo>
                <a:cubicBezTo>
                  <a:pt x="287726" y="243040"/>
                  <a:pt x="287966" y="242806"/>
                  <a:pt x="288134" y="242525"/>
                </a:cubicBezTo>
                <a:cubicBezTo>
                  <a:pt x="288301" y="242243"/>
                  <a:pt x="288390" y="241924"/>
                  <a:pt x="288391" y="241598"/>
                </a:cubicBezTo>
                <a:cubicBezTo>
                  <a:pt x="288392" y="241273"/>
                  <a:pt x="288304" y="240953"/>
                  <a:pt x="288139" y="240670"/>
                </a:cubicBezTo>
                <a:lnTo>
                  <a:pt x="251777" y="179299"/>
                </a:lnTo>
                <a:lnTo>
                  <a:pt x="314790" y="214714"/>
                </a:lnTo>
                <a:cubicBezTo>
                  <a:pt x="315080" y="214879"/>
                  <a:pt x="315410" y="214968"/>
                  <a:pt x="315745" y="214969"/>
                </a:cubicBezTo>
                <a:cubicBezTo>
                  <a:pt x="316081" y="214971"/>
                  <a:pt x="316412" y="214885"/>
                  <a:pt x="316702" y="214721"/>
                </a:cubicBezTo>
                <a:cubicBezTo>
                  <a:pt x="316993" y="214558"/>
                  <a:pt x="317233" y="214321"/>
                  <a:pt x="317399" y="214037"/>
                </a:cubicBezTo>
                <a:cubicBezTo>
                  <a:pt x="317565" y="213753"/>
                  <a:pt x="317651" y="213430"/>
                  <a:pt x="317647" y="213103"/>
                </a:cubicBezTo>
                <a:lnTo>
                  <a:pt x="317647" y="120328"/>
                </a:lnTo>
                <a:cubicBezTo>
                  <a:pt x="317651" y="120000"/>
                  <a:pt x="317565" y="119678"/>
                  <a:pt x="317399" y="119393"/>
                </a:cubicBezTo>
                <a:cubicBezTo>
                  <a:pt x="317233" y="119109"/>
                  <a:pt x="316993" y="118873"/>
                  <a:pt x="316702" y="118709"/>
                </a:cubicBezTo>
                <a:cubicBezTo>
                  <a:pt x="316412" y="118546"/>
                  <a:pt x="316081" y="118460"/>
                  <a:pt x="315745" y="118461"/>
                </a:cubicBezTo>
                <a:cubicBezTo>
                  <a:pt x="315410" y="118463"/>
                  <a:pt x="315080" y="118550"/>
                  <a:pt x="314790" y="118717"/>
                </a:cubicBezTo>
                <a:lnTo>
                  <a:pt x="251777" y="154132"/>
                </a:lnTo>
                <a:lnTo>
                  <a:pt x="288139" y="92760"/>
                </a:lnTo>
                <a:cubicBezTo>
                  <a:pt x="288304" y="92477"/>
                  <a:pt x="288392" y="92157"/>
                  <a:pt x="288391" y="91832"/>
                </a:cubicBezTo>
                <a:cubicBezTo>
                  <a:pt x="288390" y="91507"/>
                  <a:pt x="288301" y="91187"/>
                  <a:pt x="288134" y="90906"/>
                </a:cubicBezTo>
                <a:cubicBezTo>
                  <a:pt x="287966" y="90624"/>
                  <a:pt x="287726" y="90390"/>
                  <a:pt x="287437" y="90227"/>
                </a:cubicBezTo>
                <a:cubicBezTo>
                  <a:pt x="287148" y="90065"/>
                  <a:pt x="286819" y="89979"/>
                  <a:pt x="286486" y="89978"/>
                </a:cubicBezTo>
                <a:close/>
                <a:moveTo>
                  <a:pt x="746614" y="89975"/>
                </a:moveTo>
                <a:lnTo>
                  <a:pt x="819428" y="89975"/>
                </a:lnTo>
                <a:cubicBezTo>
                  <a:pt x="847388" y="89975"/>
                  <a:pt x="863622" y="105142"/>
                  <a:pt x="863622" y="130646"/>
                </a:cubicBezTo>
                <a:lnTo>
                  <a:pt x="863622" y="202837"/>
                </a:lnTo>
                <a:cubicBezTo>
                  <a:pt x="863622" y="228341"/>
                  <a:pt x="847388" y="243508"/>
                  <a:pt x="819428" y="243508"/>
                </a:cubicBezTo>
                <a:lnTo>
                  <a:pt x="746614" y="243508"/>
                </a:lnTo>
                <a:cubicBezTo>
                  <a:pt x="743908" y="243508"/>
                  <a:pt x="743006" y="242630"/>
                  <a:pt x="743006" y="239994"/>
                </a:cubicBezTo>
                <a:lnTo>
                  <a:pt x="743006" y="93489"/>
                </a:lnTo>
                <a:cubicBezTo>
                  <a:pt x="743006" y="90853"/>
                  <a:pt x="743908" y="89975"/>
                  <a:pt x="746614" y="89975"/>
                </a:cubicBezTo>
                <a:close/>
                <a:moveTo>
                  <a:pt x="624298" y="89975"/>
                </a:moveTo>
                <a:lnTo>
                  <a:pt x="721014" y="89975"/>
                </a:lnTo>
                <a:cubicBezTo>
                  <a:pt x="723719" y="89975"/>
                  <a:pt x="724621" y="90853"/>
                  <a:pt x="724621" y="93489"/>
                </a:cubicBezTo>
                <a:lnTo>
                  <a:pt x="724621" y="117455"/>
                </a:lnTo>
                <a:cubicBezTo>
                  <a:pt x="724621" y="120091"/>
                  <a:pt x="723719" y="120969"/>
                  <a:pt x="721014" y="120969"/>
                </a:cubicBezTo>
                <a:lnTo>
                  <a:pt x="654738" y="120969"/>
                </a:lnTo>
                <a:lnTo>
                  <a:pt x="654738" y="154173"/>
                </a:lnTo>
                <a:lnTo>
                  <a:pt x="712656" y="154173"/>
                </a:lnTo>
                <a:cubicBezTo>
                  <a:pt x="715362" y="154173"/>
                  <a:pt x="716263" y="155051"/>
                  <a:pt x="716263" y="157701"/>
                </a:cubicBezTo>
                <a:lnTo>
                  <a:pt x="716263" y="181726"/>
                </a:lnTo>
                <a:cubicBezTo>
                  <a:pt x="716263" y="184361"/>
                  <a:pt x="715362" y="185240"/>
                  <a:pt x="712656" y="185240"/>
                </a:cubicBezTo>
                <a:lnTo>
                  <a:pt x="654738" y="185240"/>
                </a:lnTo>
                <a:lnTo>
                  <a:pt x="654738" y="239994"/>
                </a:lnTo>
                <a:cubicBezTo>
                  <a:pt x="654738" y="242630"/>
                  <a:pt x="653836" y="243508"/>
                  <a:pt x="651130" y="243508"/>
                </a:cubicBezTo>
                <a:lnTo>
                  <a:pt x="624298" y="243508"/>
                </a:lnTo>
                <a:cubicBezTo>
                  <a:pt x="621592" y="243508"/>
                  <a:pt x="620690" y="242630"/>
                  <a:pt x="620690" y="239994"/>
                </a:cubicBezTo>
                <a:lnTo>
                  <a:pt x="620690" y="93489"/>
                </a:lnTo>
                <a:cubicBezTo>
                  <a:pt x="620690" y="90853"/>
                  <a:pt x="621592" y="89975"/>
                  <a:pt x="624298" y="89975"/>
                </a:cubicBezTo>
                <a:close/>
                <a:moveTo>
                  <a:pt x="481496" y="89975"/>
                </a:moveTo>
                <a:lnTo>
                  <a:pt x="554280" y="89975"/>
                </a:lnTo>
                <a:cubicBezTo>
                  <a:pt x="582210" y="89975"/>
                  <a:pt x="598475" y="105142"/>
                  <a:pt x="598519" y="130646"/>
                </a:cubicBezTo>
                <a:lnTo>
                  <a:pt x="598519" y="202837"/>
                </a:lnTo>
                <a:cubicBezTo>
                  <a:pt x="598519" y="228341"/>
                  <a:pt x="582285" y="243508"/>
                  <a:pt x="554325" y="243508"/>
                </a:cubicBezTo>
                <a:lnTo>
                  <a:pt x="481496" y="243508"/>
                </a:lnTo>
                <a:cubicBezTo>
                  <a:pt x="478790" y="243508"/>
                  <a:pt x="477888" y="242630"/>
                  <a:pt x="477888" y="239994"/>
                </a:cubicBezTo>
                <a:lnTo>
                  <a:pt x="477888" y="93489"/>
                </a:lnTo>
                <a:cubicBezTo>
                  <a:pt x="477888" y="90853"/>
                  <a:pt x="478790" y="89975"/>
                  <a:pt x="481496" y="89975"/>
                </a:cubicBezTo>
                <a:close/>
                <a:moveTo>
                  <a:pt x="925345" y="88877"/>
                </a:moveTo>
                <a:cubicBezTo>
                  <a:pt x="949922" y="88877"/>
                  <a:pt x="978107" y="89536"/>
                  <a:pt x="978107" y="89536"/>
                </a:cubicBezTo>
                <a:cubicBezTo>
                  <a:pt x="980812" y="89536"/>
                  <a:pt x="981717" y="90414"/>
                  <a:pt x="981717" y="93050"/>
                </a:cubicBezTo>
                <a:lnTo>
                  <a:pt x="981717" y="117016"/>
                </a:lnTo>
                <a:cubicBezTo>
                  <a:pt x="981717" y="119651"/>
                  <a:pt x="980812" y="120529"/>
                  <a:pt x="978107" y="120529"/>
                </a:cubicBezTo>
                <a:cubicBezTo>
                  <a:pt x="978107" y="120529"/>
                  <a:pt x="952327" y="119870"/>
                  <a:pt x="930005" y="119870"/>
                </a:cubicBezTo>
                <a:cubicBezTo>
                  <a:pt x="919407" y="119870"/>
                  <a:pt x="915123" y="119870"/>
                  <a:pt x="915123" y="130866"/>
                </a:cubicBezTo>
                <a:lnTo>
                  <a:pt x="915123" y="133955"/>
                </a:lnTo>
                <a:cubicBezTo>
                  <a:pt x="915123" y="142080"/>
                  <a:pt x="917152" y="143617"/>
                  <a:pt x="925044" y="146048"/>
                </a:cubicBezTo>
                <a:lnTo>
                  <a:pt x="959990" y="157263"/>
                </a:lnTo>
                <a:cubicBezTo>
                  <a:pt x="974878" y="161874"/>
                  <a:pt x="991080" y="166486"/>
                  <a:pt x="991080" y="194229"/>
                </a:cubicBezTo>
                <a:lnTo>
                  <a:pt x="991080" y="206322"/>
                </a:lnTo>
                <a:cubicBezTo>
                  <a:pt x="991080" y="231796"/>
                  <a:pt x="975173" y="244635"/>
                  <a:pt x="946990" y="244635"/>
                </a:cubicBezTo>
                <a:cubicBezTo>
                  <a:pt x="918806" y="244635"/>
                  <a:pt x="885991" y="243977"/>
                  <a:pt x="885991" y="243977"/>
                </a:cubicBezTo>
                <a:cubicBezTo>
                  <a:pt x="883285" y="243977"/>
                  <a:pt x="882383" y="243098"/>
                  <a:pt x="882383" y="240463"/>
                </a:cubicBezTo>
                <a:lnTo>
                  <a:pt x="882383" y="216497"/>
                </a:lnTo>
                <a:cubicBezTo>
                  <a:pt x="882383" y="213862"/>
                  <a:pt x="883285" y="212969"/>
                  <a:pt x="885991" y="212969"/>
                </a:cubicBezTo>
                <a:cubicBezTo>
                  <a:pt x="885991" y="212969"/>
                  <a:pt x="918205" y="213642"/>
                  <a:pt x="942256" y="213642"/>
                </a:cubicBezTo>
                <a:cubicBezTo>
                  <a:pt x="952856" y="213642"/>
                  <a:pt x="956914" y="212910"/>
                  <a:pt x="956914" y="201930"/>
                </a:cubicBezTo>
                <a:lnTo>
                  <a:pt x="956914" y="198372"/>
                </a:lnTo>
                <a:cubicBezTo>
                  <a:pt x="956914" y="190247"/>
                  <a:pt x="954885" y="188036"/>
                  <a:pt x="946990" y="185620"/>
                </a:cubicBezTo>
                <a:lnTo>
                  <a:pt x="912267" y="174626"/>
                </a:lnTo>
                <a:cubicBezTo>
                  <a:pt x="897159" y="170014"/>
                  <a:pt x="881166" y="165387"/>
                  <a:pt x="881166" y="137908"/>
                </a:cubicBezTo>
                <a:lnTo>
                  <a:pt x="881166" y="126034"/>
                </a:lnTo>
                <a:cubicBezTo>
                  <a:pt x="881166" y="100590"/>
                  <a:pt x="897385" y="88877"/>
                  <a:pt x="925345" y="88877"/>
                </a:cubicBezTo>
                <a:close/>
                <a:moveTo>
                  <a:pt x="199827" y="28"/>
                </a:moveTo>
                <a:lnTo>
                  <a:pt x="475181" y="28"/>
                </a:lnTo>
                <a:cubicBezTo>
                  <a:pt x="475636" y="-44"/>
                  <a:pt x="476102" y="19"/>
                  <a:pt x="476520" y="207"/>
                </a:cubicBezTo>
                <a:cubicBezTo>
                  <a:pt x="476938" y="395"/>
                  <a:pt x="477290" y="701"/>
                  <a:pt x="477528" y="1084"/>
                </a:cubicBezTo>
                <a:cubicBezTo>
                  <a:pt x="477767" y="1468"/>
                  <a:pt x="477883" y="1912"/>
                  <a:pt x="477861" y="2360"/>
                </a:cubicBezTo>
                <a:cubicBezTo>
                  <a:pt x="477839" y="2808"/>
                  <a:pt x="477681" y="3240"/>
                  <a:pt x="477406" y="3600"/>
                </a:cubicBezTo>
                <a:lnTo>
                  <a:pt x="283885" y="330080"/>
                </a:lnTo>
                <a:cubicBezTo>
                  <a:pt x="283348" y="331133"/>
                  <a:pt x="282505" y="332010"/>
                  <a:pt x="281459" y="332601"/>
                </a:cubicBezTo>
                <a:cubicBezTo>
                  <a:pt x="280414" y="333192"/>
                  <a:pt x="279214" y="333470"/>
                  <a:pt x="278008" y="333403"/>
                </a:cubicBezTo>
                <a:lnTo>
                  <a:pt x="2713" y="333403"/>
                </a:lnTo>
                <a:cubicBezTo>
                  <a:pt x="2254" y="333481"/>
                  <a:pt x="1783" y="333422"/>
                  <a:pt x="1359" y="333235"/>
                </a:cubicBezTo>
                <a:cubicBezTo>
                  <a:pt x="935" y="333048"/>
                  <a:pt x="579" y="332740"/>
                  <a:pt x="337" y="332353"/>
                </a:cubicBezTo>
                <a:cubicBezTo>
                  <a:pt x="95" y="331966"/>
                  <a:pt x="-21" y="331517"/>
                  <a:pt x="3" y="331064"/>
                </a:cubicBezTo>
                <a:cubicBezTo>
                  <a:pt x="27" y="330611"/>
                  <a:pt x="191" y="330177"/>
                  <a:pt x="473" y="329816"/>
                </a:cubicBezTo>
                <a:lnTo>
                  <a:pt x="193949" y="3351"/>
                </a:lnTo>
                <a:cubicBezTo>
                  <a:pt x="194486" y="2297"/>
                  <a:pt x="195330" y="1420"/>
                  <a:pt x="196375" y="829"/>
                </a:cubicBezTo>
                <a:cubicBezTo>
                  <a:pt x="197420" y="238"/>
                  <a:pt x="198620" y="-41"/>
                  <a:pt x="199827" y="28"/>
                </a:cubicBezTo>
                <a:close/>
              </a:path>
            </a:pathLst>
          </a:custGeom>
          <a:solidFill>
            <a:schemeClr val="accent1"/>
          </a:solidFill>
        </p:spPr>
        <p:txBody>
          <a:bodyPr wrap="square">
            <a:noAutofit/>
          </a:bodyPr>
          <a:lstStyle>
            <a:lvl1pPr marL="126000" indent="0">
              <a:buFontTx/>
              <a:buNone/>
              <a:defRPr sz="800">
                <a:noFill/>
              </a:defRPr>
            </a:lvl1pPr>
          </a:lstStyle>
          <a:p>
            <a:pPr lvl="0"/>
            <a:r>
              <a:rPr lang="en-GB"/>
              <a:t>Set text to 'No Fill'</a:t>
            </a:r>
          </a:p>
        </p:txBody>
      </p:sp>
    </p:spTree>
    <p:extLst>
      <p:ext uri="{BB962C8B-B14F-4D97-AF65-F5344CB8AC3E}">
        <p14:creationId xmlns:p14="http://schemas.microsoft.com/office/powerpoint/2010/main" val="3148390267"/>
      </p:ext>
    </p:extLst>
  </p:cSld>
  <p:clrMapOvr>
    <a:masterClrMapping/>
  </p:clrMapOvr>
  <p:extLst>
    <p:ext uri="{DCECCB84-F9BA-43D5-87BE-67443E8EF086}">
      <p15:sldGuideLst xmlns:p15="http://schemas.microsoft.com/office/powerpoint/2012/main">
        <p15:guide id="1" orient="horz" pos="3737" userDrawn="1">
          <p15:clr>
            <a:srgbClr val="A4A3A4"/>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A">
    <p:spTree>
      <p:nvGrpSpPr>
        <p:cNvPr id="1" name=""/>
        <p:cNvGrpSpPr/>
        <p:nvPr/>
      </p:nvGrpSpPr>
      <p:grpSpPr>
        <a:xfrm>
          <a:off x="0" y="0"/>
          <a:ext cx="0" cy="0"/>
          <a:chOff x="0" y="0"/>
          <a:chExt cx="0" cy="0"/>
        </a:xfrm>
      </p:grpSpPr>
      <p:sp>
        <p:nvSpPr>
          <p:cNvPr id="6" name="Background">
            <a:extLst>
              <a:ext uri="{FF2B5EF4-FFF2-40B4-BE49-F238E27FC236}">
                <a16:creationId xmlns:a16="http://schemas.microsoft.com/office/drawing/2014/main" id="{6B9AA567-9900-3520-80A8-8215DCEAF4B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a:extLst>
              <a:ext uri="{FF2B5EF4-FFF2-40B4-BE49-F238E27FC236}">
                <a16:creationId xmlns:a16="http://schemas.microsoft.com/office/drawing/2014/main" id="{24C9D909-49D5-40E7-8A46-904F4218013D}"/>
              </a:ext>
            </a:extLst>
          </p:cNvPr>
          <p:cNvSpPr>
            <a:spLocks noGrp="1"/>
          </p:cNvSpPr>
          <p:nvPr>
            <p:ph type="title" hasCustomPrompt="1"/>
          </p:nvPr>
        </p:nvSpPr>
        <p:spPr>
          <a:xfrm>
            <a:off x="266700" y="269875"/>
            <a:ext cx="11653838" cy="930275"/>
          </a:xfrm>
        </p:spPr>
        <p:txBody>
          <a:bodyPr/>
          <a:lstStyle/>
          <a:p>
            <a:r>
              <a:rPr lang="en-GB"/>
              <a:t>Click to add title</a:t>
            </a:r>
          </a:p>
        </p:txBody>
      </p:sp>
      <p:sp>
        <p:nvSpPr>
          <p:cNvPr id="3" name="Date Placeholder 2">
            <a:extLst>
              <a:ext uri="{FF2B5EF4-FFF2-40B4-BE49-F238E27FC236}">
                <a16:creationId xmlns:a16="http://schemas.microsoft.com/office/drawing/2014/main" id="{567012D6-48ED-4B03-85DE-25086AACDB85}"/>
              </a:ext>
            </a:extLst>
          </p:cNvPr>
          <p:cNvSpPr>
            <a:spLocks noGrp="1"/>
          </p:cNvSpPr>
          <p:nvPr>
            <p:ph type="dt" sz="half" idx="10"/>
          </p:nvPr>
        </p:nvSpPr>
        <p:spPr>
          <a:xfrm>
            <a:off x="0" y="6858000"/>
            <a:ext cx="0" cy="0"/>
          </a:xfrm>
          <a:prstGeom prst="rect">
            <a:avLst/>
          </a:prstGeom>
        </p:spPr>
        <p:txBody>
          <a:bodyPr/>
          <a:lstStyle>
            <a:lvl1pPr>
              <a:defRPr sz="100">
                <a:noFill/>
              </a:defRPr>
            </a:lvl1pPr>
          </a:lstStyle>
          <a:p>
            <a:fld id="{C98D8535-45CC-424B-B655-0E6834C3F8D1}" type="datetime4">
              <a:rPr lang="en-GB" smtClean="0"/>
              <a:t>20 February 2025</a:t>
            </a:fld>
            <a:endParaRPr lang="en-GB"/>
          </a:p>
        </p:txBody>
      </p:sp>
      <p:sp>
        <p:nvSpPr>
          <p:cNvPr id="4" name="Footer Placeholder 3">
            <a:extLst>
              <a:ext uri="{FF2B5EF4-FFF2-40B4-BE49-F238E27FC236}">
                <a16:creationId xmlns:a16="http://schemas.microsoft.com/office/drawing/2014/main" id="{E57AB716-0309-754C-0B7E-73C48AD71CAD}"/>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CC321AA5-6588-9A37-5A5C-D63E7CD1804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7" name="Footer logo">
            <a:extLst>
              <a:ext uri="{FF2B5EF4-FFF2-40B4-BE49-F238E27FC236}">
                <a16:creationId xmlns:a16="http://schemas.microsoft.com/office/drawing/2014/main" id="{C35A35DB-B230-8296-10F6-A1CFF59DB00A}"/>
              </a:ext>
            </a:extLst>
          </p:cNvPr>
          <p:cNvSpPr>
            <a:spLocks noChangeAspect="1"/>
          </p:cNvSpPr>
          <p:nvPr userDrawn="1"/>
        </p:nvSpPr>
        <p:spPr>
          <a:xfrm>
            <a:off x="11634124" y="6504694"/>
            <a:ext cx="288000" cy="81844"/>
          </a:xfrm>
          <a:custGeom>
            <a:avLst/>
            <a:gdLst>
              <a:gd name="connsiteX0" fmla="*/ 109963 w 193596"/>
              <a:gd name="connsiteY0" fmla="*/ 11125 h 55016"/>
              <a:gd name="connsiteX1" fmla="*/ 109963 w 193596"/>
              <a:gd name="connsiteY1" fmla="*/ 43891 h 55016"/>
              <a:gd name="connsiteX2" fmla="*/ 118345 w 193596"/>
              <a:gd name="connsiteY2" fmla="*/ 43891 h 55016"/>
              <a:gd name="connsiteX3" fmla="*/ 133356 w 193596"/>
              <a:gd name="connsiteY3" fmla="*/ 27356 h 55016"/>
              <a:gd name="connsiteX4" fmla="*/ 118421 w 193596"/>
              <a:gd name="connsiteY4" fmla="*/ 11125 h 55016"/>
              <a:gd name="connsiteX5" fmla="*/ 11811 w 193596"/>
              <a:gd name="connsiteY5" fmla="*/ 11125 h 55016"/>
              <a:gd name="connsiteX6" fmla="*/ 11811 w 193596"/>
              <a:gd name="connsiteY6" fmla="*/ 43891 h 55016"/>
              <a:gd name="connsiteX7" fmla="*/ 20193 w 193596"/>
              <a:gd name="connsiteY7" fmla="*/ 43891 h 55016"/>
              <a:gd name="connsiteX8" fmla="*/ 35204 w 193596"/>
              <a:gd name="connsiteY8" fmla="*/ 27356 h 55016"/>
              <a:gd name="connsiteX9" fmla="*/ 20269 w 193596"/>
              <a:gd name="connsiteY9" fmla="*/ 11125 h 55016"/>
              <a:gd name="connsiteX10" fmla="*/ 98152 w 193596"/>
              <a:gd name="connsiteY10" fmla="*/ 838 h 55016"/>
              <a:gd name="connsiteX11" fmla="*/ 119564 w 193596"/>
              <a:gd name="connsiteY11" fmla="*/ 838 h 55016"/>
              <a:gd name="connsiteX12" fmla="*/ 145396 w 193596"/>
              <a:gd name="connsiteY12" fmla="*/ 27356 h 55016"/>
              <a:gd name="connsiteX13" fmla="*/ 119564 w 193596"/>
              <a:gd name="connsiteY13" fmla="*/ 54178 h 55016"/>
              <a:gd name="connsiteX14" fmla="*/ 98152 w 193596"/>
              <a:gd name="connsiteY14" fmla="*/ 54178 h 55016"/>
              <a:gd name="connsiteX15" fmla="*/ 55438 w 193596"/>
              <a:gd name="connsiteY15" fmla="*/ 838 h 55016"/>
              <a:gd name="connsiteX16" fmla="*/ 89728 w 193596"/>
              <a:gd name="connsiteY16" fmla="*/ 838 h 55016"/>
              <a:gd name="connsiteX17" fmla="*/ 89728 w 193596"/>
              <a:gd name="connsiteY17" fmla="*/ 11049 h 55016"/>
              <a:gd name="connsiteX18" fmla="*/ 67249 w 193596"/>
              <a:gd name="connsiteY18" fmla="*/ 11049 h 55016"/>
              <a:gd name="connsiteX19" fmla="*/ 67249 w 193596"/>
              <a:gd name="connsiteY19" fmla="*/ 23774 h 55016"/>
              <a:gd name="connsiteX20" fmla="*/ 89042 w 193596"/>
              <a:gd name="connsiteY20" fmla="*/ 23774 h 55016"/>
              <a:gd name="connsiteX21" fmla="*/ 89042 w 193596"/>
              <a:gd name="connsiteY21" fmla="*/ 33909 h 55016"/>
              <a:gd name="connsiteX22" fmla="*/ 67249 w 193596"/>
              <a:gd name="connsiteY22" fmla="*/ 33909 h 55016"/>
              <a:gd name="connsiteX23" fmla="*/ 67249 w 193596"/>
              <a:gd name="connsiteY23" fmla="*/ 54178 h 55016"/>
              <a:gd name="connsiteX24" fmla="*/ 55438 w 193596"/>
              <a:gd name="connsiteY24" fmla="*/ 54178 h 55016"/>
              <a:gd name="connsiteX25" fmla="*/ 0 w 193596"/>
              <a:gd name="connsiteY25" fmla="*/ 838 h 55016"/>
              <a:gd name="connsiteX26" fmla="*/ 21412 w 193596"/>
              <a:gd name="connsiteY26" fmla="*/ 838 h 55016"/>
              <a:gd name="connsiteX27" fmla="*/ 47244 w 193596"/>
              <a:gd name="connsiteY27" fmla="*/ 27356 h 55016"/>
              <a:gd name="connsiteX28" fmla="*/ 21412 w 193596"/>
              <a:gd name="connsiteY28" fmla="*/ 54178 h 55016"/>
              <a:gd name="connsiteX29" fmla="*/ 0 w 193596"/>
              <a:gd name="connsiteY29" fmla="*/ 54178 h 55016"/>
              <a:gd name="connsiteX30" fmla="*/ 172031 w 193596"/>
              <a:gd name="connsiteY30" fmla="*/ 0 h 55016"/>
              <a:gd name="connsiteX31" fmla="*/ 192605 w 193596"/>
              <a:gd name="connsiteY31" fmla="*/ 16459 h 55016"/>
              <a:gd name="connsiteX32" fmla="*/ 180642 w 193596"/>
              <a:gd name="connsiteY32" fmla="*/ 16459 h 55016"/>
              <a:gd name="connsiteX33" fmla="*/ 172031 w 193596"/>
              <a:gd name="connsiteY33" fmla="*/ 9982 h 55016"/>
              <a:gd name="connsiteX34" fmla="*/ 163725 w 193596"/>
              <a:gd name="connsiteY34" fmla="*/ 15545 h 55016"/>
              <a:gd name="connsiteX35" fmla="*/ 170202 w 193596"/>
              <a:gd name="connsiteY35" fmla="*/ 20803 h 55016"/>
              <a:gd name="connsiteX36" fmla="*/ 178127 w 193596"/>
              <a:gd name="connsiteY36" fmla="*/ 22327 h 55016"/>
              <a:gd name="connsiteX37" fmla="*/ 193596 w 193596"/>
              <a:gd name="connsiteY37" fmla="*/ 38176 h 55016"/>
              <a:gd name="connsiteX38" fmla="*/ 172793 w 193596"/>
              <a:gd name="connsiteY38" fmla="*/ 55016 h 55016"/>
              <a:gd name="connsiteX39" fmla="*/ 151000 w 193596"/>
              <a:gd name="connsiteY39" fmla="*/ 37871 h 55016"/>
              <a:gd name="connsiteX40" fmla="*/ 162963 w 193596"/>
              <a:gd name="connsiteY40" fmla="*/ 37871 h 55016"/>
              <a:gd name="connsiteX41" fmla="*/ 172717 w 193596"/>
              <a:gd name="connsiteY41" fmla="*/ 45034 h 55016"/>
              <a:gd name="connsiteX42" fmla="*/ 181632 w 193596"/>
              <a:gd name="connsiteY42" fmla="*/ 38862 h 55016"/>
              <a:gd name="connsiteX43" fmla="*/ 174774 w 193596"/>
              <a:gd name="connsiteY43" fmla="*/ 32918 h 55016"/>
              <a:gd name="connsiteX44" fmla="*/ 167078 w 193596"/>
              <a:gd name="connsiteY44" fmla="*/ 31471 h 55016"/>
              <a:gd name="connsiteX45" fmla="*/ 151686 w 193596"/>
              <a:gd name="connsiteY45" fmla="*/ 16078 h 55016"/>
              <a:gd name="connsiteX46" fmla="*/ 172031 w 193596"/>
              <a:gd name="connsiteY46" fmla="*/ 0 h 55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3596" h="55016">
                <a:moveTo>
                  <a:pt x="109963" y="11125"/>
                </a:moveTo>
                <a:lnTo>
                  <a:pt x="109963" y="43891"/>
                </a:lnTo>
                <a:lnTo>
                  <a:pt x="118345" y="43891"/>
                </a:lnTo>
                <a:cubicBezTo>
                  <a:pt x="126498" y="43891"/>
                  <a:pt x="133356" y="38786"/>
                  <a:pt x="133356" y="27356"/>
                </a:cubicBezTo>
                <a:cubicBezTo>
                  <a:pt x="133356" y="16611"/>
                  <a:pt x="127032" y="11125"/>
                  <a:pt x="118421" y="11125"/>
                </a:cubicBezTo>
                <a:close/>
                <a:moveTo>
                  <a:pt x="11811" y="11125"/>
                </a:moveTo>
                <a:lnTo>
                  <a:pt x="11811" y="43891"/>
                </a:lnTo>
                <a:lnTo>
                  <a:pt x="20193" y="43891"/>
                </a:lnTo>
                <a:cubicBezTo>
                  <a:pt x="28346" y="43891"/>
                  <a:pt x="35204" y="38786"/>
                  <a:pt x="35204" y="27356"/>
                </a:cubicBezTo>
                <a:cubicBezTo>
                  <a:pt x="35204" y="16611"/>
                  <a:pt x="28880" y="11125"/>
                  <a:pt x="20269" y="11125"/>
                </a:cubicBezTo>
                <a:close/>
                <a:moveTo>
                  <a:pt x="98152" y="838"/>
                </a:moveTo>
                <a:lnTo>
                  <a:pt x="119564" y="838"/>
                </a:lnTo>
                <a:cubicBezTo>
                  <a:pt x="135338" y="838"/>
                  <a:pt x="145396" y="11582"/>
                  <a:pt x="145396" y="27356"/>
                </a:cubicBezTo>
                <a:cubicBezTo>
                  <a:pt x="145396" y="43434"/>
                  <a:pt x="135338" y="54178"/>
                  <a:pt x="119564" y="54178"/>
                </a:cubicBezTo>
                <a:lnTo>
                  <a:pt x="98152" y="54178"/>
                </a:lnTo>
                <a:close/>
                <a:moveTo>
                  <a:pt x="55438" y="838"/>
                </a:moveTo>
                <a:lnTo>
                  <a:pt x="89728" y="838"/>
                </a:lnTo>
                <a:lnTo>
                  <a:pt x="89728" y="11049"/>
                </a:lnTo>
                <a:lnTo>
                  <a:pt x="67249" y="11049"/>
                </a:lnTo>
                <a:lnTo>
                  <a:pt x="67249" y="23774"/>
                </a:lnTo>
                <a:lnTo>
                  <a:pt x="89042" y="23774"/>
                </a:lnTo>
                <a:lnTo>
                  <a:pt x="89042" y="33909"/>
                </a:lnTo>
                <a:lnTo>
                  <a:pt x="67249" y="33909"/>
                </a:lnTo>
                <a:lnTo>
                  <a:pt x="67249" y="54178"/>
                </a:lnTo>
                <a:lnTo>
                  <a:pt x="55438" y="54178"/>
                </a:lnTo>
                <a:close/>
                <a:moveTo>
                  <a:pt x="0" y="838"/>
                </a:moveTo>
                <a:lnTo>
                  <a:pt x="21412" y="838"/>
                </a:lnTo>
                <a:cubicBezTo>
                  <a:pt x="37186" y="838"/>
                  <a:pt x="47244" y="11582"/>
                  <a:pt x="47244" y="27356"/>
                </a:cubicBezTo>
                <a:cubicBezTo>
                  <a:pt x="47244" y="43434"/>
                  <a:pt x="37186" y="54178"/>
                  <a:pt x="21412" y="54178"/>
                </a:cubicBezTo>
                <a:lnTo>
                  <a:pt x="0" y="54178"/>
                </a:lnTo>
                <a:close/>
                <a:moveTo>
                  <a:pt x="172031" y="0"/>
                </a:moveTo>
                <a:cubicBezTo>
                  <a:pt x="183614" y="0"/>
                  <a:pt x="191538" y="6629"/>
                  <a:pt x="192605" y="16459"/>
                </a:cubicBezTo>
                <a:lnTo>
                  <a:pt x="180642" y="16459"/>
                </a:lnTo>
                <a:cubicBezTo>
                  <a:pt x="179727" y="12421"/>
                  <a:pt x="177213" y="9982"/>
                  <a:pt x="172031" y="9982"/>
                </a:cubicBezTo>
                <a:cubicBezTo>
                  <a:pt x="167764" y="9982"/>
                  <a:pt x="163725" y="11659"/>
                  <a:pt x="163725" y="15545"/>
                </a:cubicBezTo>
                <a:cubicBezTo>
                  <a:pt x="163725" y="18517"/>
                  <a:pt x="166164" y="19964"/>
                  <a:pt x="170202" y="20803"/>
                </a:cubicBezTo>
                <a:lnTo>
                  <a:pt x="178127" y="22327"/>
                </a:lnTo>
                <a:cubicBezTo>
                  <a:pt x="187805" y="24155"/>
                  <a:pt x="193596" y="29489"/>
                  <a:pt x="193596" y="38176"/>
                </a:cubicBezTo>
                <a:cubicBezTo>
                  <a:pt x="193596" y="49454"/>
                  <a:pt x="183842" y="55016"/>
                  <a:pt x="172793" y="55016"/>
                </a:cubicBezTo>
                <a:cubicBezTo>
                  <a:pt x="159839" y="55016"/>
                  <a:pt x="152219" y="47701"/>
                  <a:pt x="151000" y="37871"/>
                </a:cubicBezTo>
                <a:lnTo>
                  <a:pt x="162963" y="37871"/>
                </a:lnTo>
                <a:cubicBezTo>
                  <a:pt x="163649" y="42367"/>
                  <a:pt x="167383" y="45034"/>
                  <a:pt x="172717" y="45034"/>
                </a:cubicBezTo>
                <a:cubicBezTo>
                  <a:pt x="177365" y="45034"/>
                  <a:pt x="181632" y="43053"/>
                  <a:pt x="181632" y="38862"/>
                </a:cubicBezTo>
                <a:cubicBezTo>
                  <a:pt x="181632" y="35738"/>
                  <a:pt x="179194" y="33757"/>
                  <a:pt x="174774" y="32918"/>
                </a:cubicBezTo>
                <a:lnTo>
                  <a:pt x="167078" y="31471"/>
                </a:lnTo>
                <a:cubicBezTo>
                  <a:pt x="158010" y="29947"/>
                  <a:pt x="151686" y="24841"/>
                  <a:pt x="151686" y="16078"/>
                </a:cubicBezTo>
                <a:cubicBezTo>
                  <a:pt x="151686" y="5105"/>
                  <a:pt x="161820" y="0"/>
                  <a:pt x="172031" y="0"/>
                </a:cubicBezTo>
                <a:close/>
              </a:path>
            </a:pathLst>
          </a:custGeom>
          <a:solidFill>
            <a:srgbClr val="002B45"/>
          </a:solidFill>
          <a:ln w="9525" cap="flat">
            <a:noFill/>
            <a:prstDash val="solid"/>
            <a:miter/>
          </a:ln>
        </p:spPr>
        <p:txBody>
          <a:bodyPr rtlCol="0" anchor="ctr"/>
          <a:lstStyle/>
          <a:p>
            <a:endParaRPr lang="en-GB"/>
          </a:p>
        </p:txBody>
      </p:sp>
    </p:spTree>
    <p:extLst>
      <p:ext uri="{BB962C8B-B14F-4D97-AF65-F5344CB8AC3E}">
        <p14:creationId xmlns:p14="http://schemas.microsoft.com/office/powerpoint/2010/main" val="345088864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Only B">
    <p:bg>
      <p:bgRef idx="1001">
        <a:schemeClr val="bg2"/>
      </p:bgRef>
    </p:bg>
    <p:spTree>
      <p:nvGrpSpPr>
        <p:cNvPr id="1" name=""/>
        <p:cNvGrpSpPr/>
        <p:nvPr/>
      </p:nvGrpSpPr>
      <p:grpSpPr>
        <a:xfrm>
          <a:off x="0" y="0"/>
          <a:ext cx="0" cy="0"/>
          <a:chOff x="0" y="0"/>
          <a:chExt cx="0" cy="0"/>
        </a:xfrm>
      </p:grpSpPr>
      <p:sp>
        <p:nvSpPr>
          <p:cNvPr id="6" name="Background">
            <a:extLst>
              <a:ext uri="{FF2B5EF4-FFF2-40B4-BE49-F238E27FC236}">
                <a16:creationId xmlns:a16="http://schemas.microsoft.com/office/drawing/2014/main" id="{A45011CE-8235-5398-E88F-503482890772}"/>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a:extLst>
              <a:ext uri="{FF2B5EF4-FFF2-40B4-BE49-F238E27FC236}">
                <a16:creationId xmlns:a16="http://schemas.microsoft.com/office/drawing/2014/main" id="{24C9D909-49D5-40E7-8A46-904F4218013D}"/>
              </a:ext>
            </a:extLst>
          </p:cNvPr>
          <p:cNvSpPr>
            <a:spLocks noGrp="1"/>
          </p:cNvSpPr>
          <p:nvPr>
            <p:ph type="title" hasCustomPrompt="1"/>
          </p:nvPr>
        </p:nvSpPr>
        <p:spPr>
          <a:xfrm>
            <a:off x="266700" y="269875"/>
            <a:ext cx="11653838" cy="930275"/>
          </a:xfrm>
        </p:spPr>
        <p:txBody>
          <a:bodyPr/>
          <a:lstStyle>
            <a:lvl1pPr>
              <a:defRPr>
                <a:solidFill>
                  <a:schemeClr val="accent1"/>
                </a:solidFill>
              </a:defRPr>
            </a:lvl1pPr>
          </a:lstStyle>
          <a:p>
            <a:r>
              <a:rPr lang="en-GB"/>
              <a:t>Click to add title</a:t>
            </a:r>
          </a:p>
        </p:txBody>
      </p:sp>
      <p:sp>
        <p:nvSpPr>
          <p:cNvPr id="3" name="Date Placeholder 2">
            <a:extLst>
              <a:ext uri="{FF2B5EF4-FFF2-40B4-BE49-F238E27FC236}">
                <a16:creationId xmlns:a16="http://schemas.microsoft.com/office/drawing/2014/main" id="{567012D6-48ED-4B03-85DE-25086AACDB85}"/>
              </a:ext>
            </a:extLst>
          </p:cNvPr>
          <p:cNvSpPr>
            <a:spLocks noGrp="1"/>
          </p:cNvSpPr>
          <p:nvPr>
            <p:ph type="dt" sz="half" idx="10"/>
          </p:nvPr>
        </p:nvSpPr>
        <p:spPr>
          <a:xfrm>
            <a:off x="0" y="6858000"/>
            <a:ext cx="0" cy="0"/>
          </a:xfrm>
          <a:prstGeom prst="rect">
            <a:avLst/>
          </a:prstGeom>
        </p:spPr>
        <p:txBody>
          <a:bodyPr/>
          <a:lstStyle>
            <a:lvl1pPr>
              <a:defRPr sz="100">
                <a:noFill/>
              </a:defRPr>
            </a:lvl1pPr>
          </a:lstStyle>
          <a:p>
            <a:fld id="{C674CC40-CEB3-46EC-8EE8-976319B8EE6C}" type="datetime4">
              <a:rPr lang="en-GB" smtClean="0"/>
              <a:t>20 February 2025</a:t>
            </a:fld>
            <a:endParaRPr lang="en-GB"/>
          </a:p>
        </p:txBody>
      </p:sp>
      <p:sp>
        <p:nvSpPr>
          <p:cNvPr id="4" name="Footer Placeholder 3">
            <a:extLst>
              <a:ext uri="{FF2B5EF4-FFF2-40B4-BE49-F238E27FC236}">
                <a16:creationId xmlns:a16="http://schemas.microsoft.com/office/drawing/2014/main" id="{E57AB716-0309-754C-0B7E-73C48AD71CAD}"/>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CC321AA5-6588-9A37-5A5C-D63E7CD1804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7" name="Footer logo">
            <a:extLst>
              <a:ext uri="{FF2B5EF4-FFF2-40B4-BE49-F238E27FC236}">
                <a16:creationId xmlns:a16="http://schemas.microsoft.com/office/drawing/2014/main" id="{CB1D6592-45E7-72AC-9073-BA44ECDCA2BA}"/>
              </a:ext>
            </a:extLst>
          </p:cNvPr>
          <p:cNvSpPr>
            <a:spLocks noChangeAspect="1"/>
          </p:cNvSpPr>
          <p:nvPr userDrawn="1"/>
        </p:nvSpPr>
        <p:spPr>
          <a:xfrm>
            <a:off x="11634124" y="6504694"/>
            <a:ext cx="288000" cy="81844"/>
          </a:xfrm>
          <a:custGeom>
            <a:avLst/>
            <a:gdLst>
              <a:gd name="connsiteX0" fmla="*/ 109963 w 193596"/>
              <a:gd name="connsiteY0" fmla="*/ 11125 h 55016"/>
              <a:gd name="connsiteX1" fmla="*/ 109963 w 193596"/>
              <a:gd name="connsiteY1" fmla="*/ 43891 h 55016"/>
              <a:gd name="connsiteX2" fmla="*/ 118345 w 193596"/>
              <a:gd name="connsiteY2" fmla="*/ 43891 h 55016"/>
              <a:gd name="connsiteX3" fmla="*/ 133356 w 193596"/>
              <a:gd name="connsiteY3" fmla="*/ 27356 h 55016"/>
              <a:gd name="connsiteX4" fmla="*/ 118421 w 193596"/>
              <a:gd name="connsiteY4" fmla="*/ 11125 h 55016"/>
              <a:gd name="connsiteX5" fmla="*/ 11811 w 193596"/>
              <a:gd name="connsiteY5" fmla="*/ 11125 h 55016"/>
              <a:gd name="connsiteX6" fmla="*/ 11811 w 193596"/>
              <a:gd name="connsiteY6" fmla="*/ 43891 h 55016"/>
              <a:gd name="connsiteX7" fmla="*/ 20193 w 193596"/>
              <a:gd name="connsiteY7" fmla="*/ 43891 h 55016"/>
              <a:gd name="connsiteX8" fmla="*/ 35204 w 193596"/>
              <a:gd name="connsiteY8" fmla="*/ 27356 h 55016"/>
              <a:gd name="connsiteX9" fmla="*/ 20269 w 193596"/>
              <a:gd name="connsiteY9" fmla="*/ 11125 h 55016"/>
              <a:gd name="connsiteX10" fmla="*/ 98152 w 193596"/>
              <a:gd name="connsiteY10" fmla="*/ 838 h 55016"/>
              <a:gd name="connsiteX11" fmla="*/ 119564 w 193596"/>
              <a:gd name="connsiteY11" fmla="*/ 838 h 55016"/>
              <a:gd name="connsiteX12" fmla="*/ 145396 w 193596"/>
              <a:gd name="connsiteY12" fmla="*/ 27356 h 55016"/>
              <a:gd name="connsiteX13" fmla="*/ 119564 w 193596"/>
              <a:gd name="connsiteY13" fmla="*/ 54178 h 55016"/>
              <a:gd name="connsiteX14" fmla="*/ 98152 w 193596"/>
              <a:gd name="connsiteY14" fmla="*/ 54178 h 55016"/>
              <a:gd name="connsiteX15" fmla="*/ 55438 w 193596"/>
              <a:gd name="connsiteY15" fmla="*/ 838 h 55016"/>
              <a:gd name="connsiteX16" fmla="*/ 89728 w 193596"/>
              <a:gd name="connsiteY16" fmla="*/ 838 h 55016"/>
              <a:gd name="connsiteX17" fmla="*/ 89728 w 193596"/>
              <a:gd name="connsiteY17" fmla="*/ 11049 h 55016"/>
              <a:gd name="connsiteX18" fmla="*/ 67249 w 193596"/>
              <a:gd name="connsiteY18" fmla="*/ 11049 h 55016"/>
              <a:gd name="connsiteX19" fmla="*/ 67249 w 193596"/>
              <a:gd name="connsiteY19" fmla="*/ 23774 h 55016"/>
              <a:gd name="connsiteX20" fmla="*/ 89042 w 193596"/>
              <a:gd name="connsiteY20" fmla="*/ 23774 h 55016"/>
              <a:gd name="connsiteX21" fmla="*/ 89042 w 193596"/>
              <a:gd name="connsiteY21" fmla="*/ 33909 h 55016"/>
              <a:gd name="connsiteX22" fmla="*/ 67249 w 193596"/>
              <a:gd name="connsiteY22" fmla="*/ 33909 h 55016"/>
              <a:gd name="connsiteX23" fmla="*/ 67249 w 193596"/>
              <a:gd name="connsiteY23" fmla="*/ 54178 h 55016"/>
              <a:gd name="connsiteX24" fmla="*/ 55438 w 193596"/>
              <a:gd name="connsiteY24" fmla="*/ 54178 h 55016"/>
              <a:gd name="connsiteX25" fmla="*/ 0 w 193596"/>
              <a:gd name="connsiteY25" fmla="*/ 838 h 55016"/>
              <a:gd name="connsiteX26" fmla="*/ 21412 w 193596"/>
              <a:gd name="connsiteY26" fmla="*/ 838 h 55016"/>
              <a:gd name="connsiteX27" fmla="*/ 47244 w 193596"/>
              <a:gd name="connsiteY27" fmla="*/ 27356 h 55016"/>
              <a:gd name="connsiteX28" fmla="*/ 21412 w 193596"/>
              <a:gd name="connsiteY28" fmla="*/ 54178 h 55016"/>
              <a:gd name="connsiteX29" fmla="*/ 0 w 193596"/>
              <a:gd name="connsiteY29" fmla="*/ 54178 h 55016"/>
              <a:gd name="connsiteX30" fmla="*/ 172031 w 193596"/>
              <a:gd name="connsiteY30" fmla="*/ 0 h 55016"/>
              <a:gd name="connsiteX31" fmla="*/ 192605 w 193596"/>
              <a:gd name="connsiteY31" fmla="*/ 16459 h 55016"/>
              <a:gd name="connsiteX32" fmla="*/ 180642 w 193596"/>
              <a:gd name="connsiteY32" fmla="*/ 16459 h 55016"/>
              <a:gd name="connsiteX33" fmla="*/ 172031 w 193596"/>
              <a:gd name="connsiteY33" fmla="*/ 9982 h 55016"/>
              <a:gd name="connsiteX34" fmla="*/ 163725 w 193596"/>
              <a:gd name="connsiteY34" fmla="*/ 15545 h 55016"/>
              <a:gd name="connsiteX35" fmla="*/ 170202 w 193596"/>
              <a:gd name="connsiteY35" fmla="*/ 20803 h 55016"/>
              <a:gd name="connsiteX36" fmla="*/ 178127 w 193596"/>
              <a:gd name="connsiteY36" fmla="*/ 22327 h 55016"/>
              <a:gd name="connsiteX37" fmla="*/ 193596 w 193596"/>
              <a:gd name="connsiteY37" fmla="*/ 38176 h 55016"/>
              <a:gd name="connsiteX38" fmla="*/ 172793 w 193596"/>
              <a:gd name="connsiteY38" fmla="*/ 55016 h 55016"/>
              <a:gd name="connsiteX39" fmla="*/ 151000 w 193596"/>
              <a:gd name="connsiteY39" fmla="*/ 37871 h 55016"/>
              <a:gd name="connsiteX40" fmla="*/ 162963 w 193596"/>
              <a:gd name="connsiteY40" fmla="*/ 37871 h 55016"/>
              <a:gd name="connsiteX41" fmla="*/ 172717 w 193596"/>
              <a:gd name="connsiteY41" fmla="*/ 45034 h 55016"/>
              <a:gd name="connsiteX42" fmla="*/ 181632 w 193596"/>
              <a:gd name="connsiteY42" fmla="*/ 38862 h 55016"/>
              <a:gd name="connsiteX43" fmla="*/ 174774 w 193596"/>
              <a:gd name="connsiteY43" fmla="*/ 32918 h 55016"/>
              <a:gd name="connsiteX44" fmla="*/ 167078 w 193596"/>
              <a:gd name="connsiteY44" fmla="*/ 31471 h 55016"/>
              <a:gd name="connsiteX45" fmla="*/ 151686 w 193596"/>
              <a:gd name="connsiteY45" fmla="*/ 16078 h 55016"/>
              <a:gd name="connsiteX46" fmla="*/ 172031 w 193596"/>
              <a:gd name="connsiteY46" fmla="*/ 0 h 55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3596" h="55016">
                <a:moveTo>
                  <a:pt x="109963" y="11125"/>
                </a:moveTo>
                <a:lnTo>
                  <a:pt x="109963" y="43891"/>
                </a:lnTo>
                <a:lnTo>
                  <a:pt x="118345" y="43891"/>
                </a:lnTo>
                <a:cubicBezTo>
                  <a:pt x="126498" y="43891"/>
                  <a:pt x="133356" y="38786"/>
                  <a:pt x="133356" y="27356"/>
                </a:cubicBezTo>
                <a:cubicBezTo>
                  <a:pt x="133356" y="16611"/>
                  <a:pt x="127032" y="11125"/>
                  <a:pt x="118421" y="11125"/>
                </a:cubicBezTo>
                <a:close/>
                <a:moveTo>
                  <a:pt x="11811" y="11125"/>
                </a:moveTo>
                <a:lnTo>
                  <a:pt x="11811" y="43891"/>
                </a:lnTo>
                <a:lnTo>
                  <a:pt x="20193" y="43891"/>
                </a:lnTo>
                <a:cubicBezTo>
                  <a:pt x="28346" y="43891"/>
                  <a:pt x="35204" y="38786"/>
                  <a:pt x="35204" y="27356"/>
                </a:cubicBezTo>
                <a:cubicBezTo>
                  <a:pt x="35204" y="16611"/>
                  <a:pt x="28880" y="11125"/>
                  <a:pt x="20269" y="11125"/>
                </a:cubicBezTo>
                <a:close/>
                <a:moveTo>
                  <a:pt x="98152" y="838"/>
                </a:moveTo>
                <a:lnTo>
                  <a:pt x="119564" y="838"/>
                </a:lnTo>
                <a:cubicBezTo>
                  <a:pt x="135338" y="838"/>
                  <a:pt x="145396" y="11582"/>
                  <a:pt x="145396" y="27356"/>
                </a:cubicBezTo>
                <a:cubicBezTo>
                  <a:pt x="145396" y="43434"/>
                  <a:pt x="135338" y="54178"/>
                  <a:pt x="119564" y="54178"/>
                </a:cubicBezTo>
                <a:lnTo>
                  <a:pt x="98152" y="54178"/>
                </a:lnTo>
                <a:close/>
                <a:moveTo>
                  <a:pt x="55438" y="838"/>
                </a:moveTo>
                <a:lnTo>
                  <a:pt x="89728" y="838"/>
                </a:lnTo>
                <a:lnTo>
                  <a:pt x="89728" y="11049"/>
                </a:lnTo>
                <a:lnTo>
                  <a:pt x="67249" y="11049"/>
                </a:lnTo>
                <a:lnTo>
                  <a:pt x="67249" y="23774"/>
                </a:lnTo>
                <a:lnTo>
                  <a:pt x="89042" y="23774"/>
                </a:lnTo>
                <a:lnTo>
                  <a:pt x="89042" y="33909"/>
                </a:lnTo>
                <a:lnTo>
                  <a:pt x="67249" y="33909"/>
                </a:lnTo>
                <a:lnTo>
                  <a:pt x="67249" y="54178"/>
                </a:lnTo>
                <a:lnTo>
                  <a:pt x="55438" y="54178"/>
                </a:lnTo>
                <a:close/>
                <a:moveTo>
                  <a:pt x="0" y="838"/>
                </a:moveTo>
                <a:lnTo>
                  <a:pt x="21412" y="838"/>
                </a:lnTo>
                <a:cubicBezTo>
                  <a:pt x="37186" y="838"/>
                  <a:pt x="47244" y="11582"/>
                  <a:pt x="47244" y="27356"/>
                </a:cubicBezTo>
                <a:cubicBezTo>
                  <a:pt x="47244" y="43434"/>
                  <a:pt x="37186" y="54178"/>
                  <a:pt x="21412" y="54178"/>
                </a:cubicBezTo>
                <a:lnTo>
                  <a:pt x="0" y="54178"/>
                </a:lnTo>
                <a:close/>
                <a:moveTo>
                  <a:pt x="172031" y="0"/>
                </a:moveTo>
                <a:cubicBezTo>
                  <a:pt x="183614" y="0"/>
                  <a:pt x="191538" y="6629"/>
                  <a:pt x="192605" y="16459"/>
                </a:cubicBezTo>
                <a:lnTo>
                  <a:pt x="180642" y="16459"/>
                </a:lnTo>
                <a:cubicBezTo>
                  <a:pt x="179727" y="12421"/>
                  <a:pt x="177213" y="9982"/>
                  <a:pt x="172031" y="9982"/>
                </a:cubicBezTo>
                <a:cubicBezTo>
                  <a:pt x="167764" y="9982"/>
                  <a:pt x="163725" y="11659"/>
                  <a:pt x="163725" y="15545"/>
                </a:cubicBezTo>
                <a:cubicBezTo>
                  <a:pt x="163725" y="18517"/>
                  <a:pt x="166164" y="19964"/>
                  <a:pt x="170202" y="20803"/>
                </a:cubicBezTo>
                <a:lnTo>
                  <a:pt x="178127" y="22327"/>
                </a:lnTo>
                <a:cubicBezTo>
                  <a:pt x="187805" y="24155"/>
                  <a:pt x="193596" y="29489"/>
                  <a:pt x="193596" y="38176"/>
                </a:cubicBezTo>
                <a:cubicBezTo>
                  <a:pt x="193596" y="49454"/>
                  <a:pt x="183842" y="55016"/>
                  <a:pt x="172793" y="55016"/>
                </a:cubicBezTo>
                <a:cubicBezTo>
                  <a:pt x="159839" y="55016"/>
                  <a:pt x="152219" y="47701"/>
                  <a:pt x="151000" y="37871"/>
                </a:cubicBezTo>
                <a:lnTo>
                  <a:pt x="162963" y="37871"/>
                </a:lnTo>
                <a:cubicBezTo>
                  <a:pt x="163649" y="42367"/>
                  <a:pt x="167383" y="45034"/>
                  <a:pt x="172717" y="45034"/>
                </a:cubicBezTo>
                <a:cubicBezTo>
                  <a:pt x="177365" y="45034"/>
                  <a:pt x="181632" y="43053"/>
                  <a:pt x="181632" y="38862"/>
                </a:cubicBezTo>
                <a:cubicBezTo>
                  <a:pt x="181632" y="35738"/>
                  <a:pt x="179194" y="33757"/>
                  <a:pt x="174774" y="32918"/>
                </a:cubicBezTo>
                <a:lnTo>
                  <a:pt x="167078" y="31471"/>
                </a:lnTo>
                <a:cubicBezTo>
                  <a:pt x="158010" y="29947"/>
                  <a:pt x="151686" y="24841"/>
                  <a:pt x="151686" y="16078"/>
                </a:cubicBezTo>
                <a:cubicBezTo>
                  <a:pt x="151686" y="5105"/>
                  <a:pt x="161820" y="0"/>
                  <a:pt x="172031" y="0"/>
                </a:cubicBezTo>
                <a:close/>
              </a:path>
            </a:pathLst>
          </a:custGeom>
          <a:solidFill>
            <a:srgbClr val="002B45"/>
          </a:solidFill>
          <a:ln w="9525" cap="flat">
            <a:noFill/>
            <a:prstDash val="solid"/>
            <a:miter/>
          </a:ln>
        </p:spPr>
        <p:txBody>
          <a:bodyPr rtlCol="0" anchor="ctr"/>
          <a:lstStyle/>
          <a:p>
            <a:endParaRPr lang="en-GB"/>
          </a:p>
        </p:txBody>
      </p:sp>
    </p:spTree>
    <p:extLst>
      <p:ext uri="{BB962C8B-B14F-4D97-AF65-F5344CB8AC3E}">
        <p14:creationId xmlns:p14="http://schemas.microsoft.com/office/powerpoint/2010/main" val="1145895367"/>
      </p:ext>
    </p:extLst>
  </p:cSld>
  <p:clrMapOvr>
    <a:overrideClrMapping bg1="lt1" tx1="dk1" bg2="lt2" tx2="dk2" accent1="accent1" accent2="accent2" accent3="accent3" accent4="accent4" accent5="accent5" accent6="lt1"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B (dark image)">
    <p:bg>
      <p:bgPr>
        <a:solidFill>
          <a:schemeClr val="accent2"/>
        </a:solidFill>
        <a:effectLst/>
      </p:bgPr>
    </p:bg>
    <p:spTree>
      <p:nvGrpSpPr>
        <p:cNvPr id="1" name=""/>
        <p:cNvGrpSpPr/>
        <p:nvPr/>
      </p:nvGrpSpPr>
      <p:grpSpPr>
        <a:xfrm>
          <a:off x="0" y="0"/>
          <a:ext cx="0" cy="0"/>
          <a:chOff x="0" y="0"/>
          <a:chExt cx="0" cy="0"/>
        </a:xfrm>
      </p:grpSpPr>
      <p:sp>
        <p:nvSpPr>
          <p:cNvPr id="9" name="Background">
            <a:extLst>
              <a:ext uri="{FF2B5EF4-FFF2-40B4-BE49-F238E27FC236}">
                <a16:creationId xmlns:a16="http://schemas.microsoft.com/office/drawing/2014/main" id="{4594DFF5-9452-E1AF-1B46-59956C930ABF}"/>
              </a:ext>
            </a:extLst>
          </p:cNvPr>
          <p:cNvSpPr/>
          <p:nvPr userDrawn="1"/>
        </p:nvSpPr>
        <p:spPr>
          <a:xfrm>
            <a:off x="-2788" y="0"/>
            <a:ext cx="121932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8" name="Picture Placeholder 7">
            <a:extLst>
              <a:ext uri="{FF2B5EF4-FFF2-40B4-BE49-F238E27FC236}">
                <a16:creationId xmlns:a16="http://schemas.microsoft.com/office/drawing/2014/main" id="{2B688E27-CE24-5040-B299-D1280FD72647}"/>
              </a:ext>
            </a:extLst>
          </p:cNvPr>
          <p:cNvSpPr>
            <a:spLocks noGrp="1"/>
          </p:cNvSpPr>
          <p:nvPr>
            <p:ph type="pic" sz="quarter" idx="18" hasCustomPrompt="1"/>
          </p:nvPr>
        </p:nvSpPr>
        <p:spPr>
          <a:xfrm>
            <a:off x="0" y="0"/>
            <a:ext cx="12193200" cy="6858000"/>
          </a:xfrm>
          <a:custGeom>
            <a:avLst/>
            <a:gdLst>
              <a:gd name="connsiteX0" fmla="*/ 0 w 12193200"/>
              <a:gd name="connsiteY0" fmla="*/ 0 h 6858000"/>
              <a:gd name="connsiteX1" fmla="*/ 12192000 w 12193200"/>
              <a:gd name="connsiteY1" fmla="*/ 0 h 6858000"/>
              <a:gd name="connsiteX2" fmla="*/ 12193200 w 12193200"/>
              <a:gd name="connsiteY2" fmla="*/ 0 h 6858000"/>
              <a:gd name="connsiteX3" fmla="*/ 12193200 w 12193200"/>
              <a:gd name="connsiteY3" fmla="*/ 6858000 h 6858000"/>
              <a:gd name="connsiteX4" fmla="*/ 12192000 w 12193200"/>
              <a:gd name="connsiteY4" fmla="*/ 6858000 h 6858000"/>
              <a:gd name="connsiteX5" fmla="*/ 0 w 12193200"/>
              <a:gd name="connsiteY5" fmla="*/ 6858000 h 6858000"/>
              <a:gd name="connsiteX6" fmla="*/ 0 w 12193200"/>
              <a:gd name="connsiteY6" fmla="*/ 6857934 h 6858000"/>
              <a:gd name="connsiteX7" fmla="*/ 12189212 w 12193200"/>
              <a:gd name="connsiteY7" fmla="*/ 6857934 h 6858000"/>
              <a:gd name="connsiteX8" fmla="*/ 12189212 w 12193200"/>
              <a:gd name="connsiteY8" fmla="*/ 5516852 h 6858000"/>
              <a:gd name="connsiteX9" fmla="*/ 447046 w 12193200"/>
              <a:gd name="connsiteY9" fmla="*/ 3510971 h 6858000"/>
              <a:gd name="connsiteX10" fmla="*/ 0 w 12193200"/>
              <a:gd name="connsiteY10" fmla="*/ 350523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3200" h="6858000">
                <a:moveTo>
                  <a:pt x="0" y="0"/>
                </a:moveTo>
                <a:lnTo>
                  <a:pt x="12192000" y="0"/>
                </a:lnTo>
                <a:lnTo>
                  <a:pt x="12193200" y="0"/>
                </a:lnTo>
                <a:lnTo>
                  <a:pt x="12193200" y="6858000"/>
                </a:lnTo>
                <a:lnTo>
                  <a:pt x="12192000" y="6858000"/>
                </a:lnTo>
                <a:lnTo>
                  <a:pt x="0" y="6858000"/>
                </a:lnTo>
                <a:lnTo>
                  <a:pt x="0" y="6857934"/>
                </a:lnTo>
                <a:lnTo>
                  <a:pt x="12189212" y="6857934"/>
                </a:lnTo>
                <a:lnTo>
                  <a:pt x="12189212" y="5516852"/>
                </a:lnTo>
                <a:cubicBezTo>
                  <a:pt x="6466479" y="5516852"/>
                  <a:pt x="4993635" y="3628964"/>
                  <a:pt x="447046" y="3510971"/>
                </a:cubicBezTo>
                <a:lnTo>
                  <a:pt x="0" y="3505236"/>
                </a:lnTo>
                <a:close/>
              </a:path>
            </a:pathLst>
          </a:custGeom>
          <a:solidFill>
            <a:schemeClr val="bg1">
              <a:lumMod val="85000"/>
            </a:schemeClr>
          </a:solidFill>
        </p:spPr>
        <p:txBody>
          <a:bodyPr wrap="square" bIns="648000" anchor="ctr">
            <a:noAutofit/>
          </a:bodyPr>
          <a:lstStyle>
            <a:lvl1pPr marL="126000" indent="0" algn="ctr">
              <a:buNone/>
              <a:defRPr/>
            </a:lvl1pPr>
          </a:lstStyle>
          <a:p>
            <a:r>
              <a:rPr lang="en-GB"/>
              <a:t>Click icon to add dark picture</a:t>
            </a:r>
          </a:p>
        </p:txBody>
      </p:sp>
      <p:sp>
        <p:nvSpPr>
          <p:cNvPr id="2" name="Title 1"/>
          <p:cNvSpPr>
            <a:spLocks noGrp="1"/>
          </p:cNvSpPr>
          <p:nvPr>
            <p:ph type="ctrTitle" hasCustomPrompt="1"/>
          </p:nvPr>
        </p:nvSpPr>
        <p:spPr bwMode="white">
          <a:xfrm>
            <a:off x="269875" y="271462"/>
            <a:ext cx="11650663" cy="2029777"/>
          </a:xfrm>
        </p:spPr>
        <p:txBody>
          <a:bodyPr anchor="t"/>
          <a:lstStyle>
            <a:lvl1pPr algn="l">
              <a:lnSpc>
                <a:spcPct val="90000"/>
              </a:lnSpc>
              <a:defRPr sz="7500">
                <a:solidFill>
                  <a:schemeClr val="bg1"/>
                </a:solidFill>
              </a:defRPr>
            </a:lvl1pPr>
          </a:lstStyle>
          <a:p>
            <a:r>
              <a:rPr lang="en-GB"/>
              <a:t>Click to add title</a:t>
            </a:r>
          </a:p>
        </p:txBody>
      </p:sp>
      <p:pic>
        <p:nvPicPr>
          <p:cNvPr id="24" name="Graphic 23">
            <a:extLst>
              <a:ext uri="{FF2B5EF4-FFF2-40B4-BE49-F238E27FC236}">
                <a16:creationId xmlns:a16="http://schemas.microsoft.com/office/drawing/2014/main" id="{FEA3BFCE-12E5-2C60-27A4-78E098AB4CEC}"/>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929938" y="6253163"/>
            <a:ext cx="1000125" cy="333375"/>
          </a:xfrm>
          <a:prstGeom prst="rect">
            <a:avLst/>
          </a:prstGeom>
        </p:spPr>
      </p:pic>
      <p:sp>
        <p:nvSpPr>
          <p:cNvPr id="27" name="Subtitle 2">
            <a:extLst>
              <a:ext uri="{FF2B5EF4-FFF2-40B4-BE49-F238E27FC236}">
                <a16:creationId xmlns:a16="http://schemas.microsoft.com/office/drawing/2014/main" id="{61B7D5FC-1EAC-298E-D828-AEE1FD7B5DD5}"/>
              </a:ext>
            </a:extLst>
          </p:cNvPr>
          <p:cNvSpPr>
            <a:spLocks noGrp="1"/>
          </p:cNvSpPr>
          <p:nvPr>
            <p:ph type="subTitle" idx="1" hasCustomPrompt="1"/>
          </p:nvPr>
        </p:nvSpPr>
        <p:spPr bwMode="white">
          <a:xfrm>
            <a:off x="269875" y="6429375"/>
            <a:ext cx="1971675" cy="157163"/>
          </a:xfrm>
        </p:spPr>
        <p:txBody>
          <a:bodyPr tIns="0"/>
          <a:lstStyle>
            <a:lvl1pPr marL="0" indent="0" algn="l">
              <a:lnSpc>
                <a:spcPct val="100000"/>
              </a:lnSpc>
              <a:spcBef>
                <a:spcPts val="0"/>
              </a:spcBef>
              <a:spcAft>
                <a:spcPts val="0"/>
              </a:spcAft>
              <a:buFont typeface="DFDS Sans" panose="00000500000000000000" pitchFamily="2" charset="0"/>
              <a:buChar char="​"/>
              <a:defRPr sz="1000">
                <a:solidFill>
                  <a:schemeClr val="bg1"/>
                </a:solidFill>
              </a:defRPr>
            </a:lvl1pPr>
            <a:lvl2pPr marL="0" indent="0" algn="l">
              <a:lnSpc>
                <a:spcPct val="100000"/>
              </a:lnSpc>
              <a:spcAft>
                <a:spcPts val="0"/>
              </a:spcAft>
              <a:buFont typeface="DFDS Sans" panose="00000500000000000000" pitchFamily="2" charset="0"/>
              <a:buNone/>
              <a:defRPr sz="1000" b="0">
                <a:solidFill>
                  <a:schemeClr val="bg1"/>
                </a:solidFill>
              </a:defRPr>
            </a:lvl2pPr>
            <a:lvl3pPr marL="0" indent="0" algn="l">
              <a:lnSpc>
                <a:spcPct val="100000"/>
              </a:lnSpc>
              <a:spcAft>
                <a:spcPts val="0"/>
              </a:spcAft>
              <a:buFont typeface="DFDS Sans" panose="00000500000000000000" pitchFamily="2" charset="0"/>
              <a:buChar char="​"/>
              <a:defRPr sz="1000" b="0">
                <a:solidFill>
                  <a:schemeClr val="bg1"/>
                </a:solidFill>
              </a:defRPr>
            </a:lvl3pPr>
            <a:lvl4pPr marL="0" indent="0" algn="l">
              <a:lnSpc>
                <a:spcPct val="100000"/>
              </a:lnSpc>
              <a:spcAft>
                <a:spcPts val="0"/>
              </a:spcAft>
              <a:buFont typeface="DFDS Sans" panose="00000500000000000000" pitchFamily="2" charset="0"/>
              <a:buChar char="​"/>
              <a:defRPr sz="1000" b="0">
                <a:solidFill>
                  <a:schemeClr val="bg1"/>
                </a:solidFill>
              </a:defRPr>
            </a:lvl4pPr>
            <a:lvl5pPr marL="0" indent="0" algn="l">
              <a:lnSpc>
                <a:spcPct val="100000"/>
              </a:lnSpc>
              <a:spcAft>
                <a:spcPts val="0"/>
              </a:spcAft>
              <a:buFont typeface="DFDS Sans" panose="00000500000000000000" pitchFamily="2" charset="0"/>
              <a:buChar char="​"/>
              <a:defRPr sz="1000" b="0">
                <a:solidFill>
                  <a:schemeClr val="bg1"/>
                </a:solidFill>
              </a:defRPr>
            </a:lvl5pPr>
            <a:lvl6pPr marL="0" indent="0" algn="l">
              <a:lnSpc>
                <a:spcPct val="100000"/>
              </a:lnSpc>
              <a:spcAft>
                <a:spcPts val="0"/>
              </a:spcAft>
              <a:buFont typeface="DFDS Sans" panose="00000500000000000000" pitchFamily="2" charset="0"/>
              <a:buChar char="​"/>
              <a:defRPr sz="1000" b="0">
                <a:solidFill>
                  <a:schemeClr val="bg1"/>
                </a:solidFill>
              </a:defRPr>
            </a:lvl6pPr>
            <a:lvl7pPr marL="0" indent="0" algn="l">
              <a:lnSpc>
                <a:spcPct val="100000"/>
              </a:lnSpc>
              <a:spcAft>
                <a:spcPts val="0"/>
              </a:spcAft>
              <a:buFont typeface="DFDS Sans" panose="00000500000000000000" pitchFamily="2" charset="0"/>
              <a:buChar char="​"/>
              <a:defRPr sz="1000" b="0">
                <a:solidFill>
                  <a:schemeClr val="bg1"/>
                </a:solidFill>
              </a:defRPr>
            </a:lvl7pPr>
            <a:lvl8pPr marL="0" indent="0" algn="l">
              <a:lnSpc>
                <a:spcPct val="100000"/>
              </a:lnSpc>
              <a:spcAft>
                <a:spcPts val="0"/>
              </a:spcAft>
              <a:buFont typeface="DFDS Sans" panose="00000500000000000000" pitchFamily="2" charset="0"/>
              <a:buChar char="​"/>
              <a:defRPr sz="1000" b="0">
                <a:solidFill>
                  <a:schemeClr val="bg1"/>
                </a:solidFill>
              </a:defRPr>
            </a:lvl8pPr>
            <a:lvl9pPr marL="0" indent="0" algn="l">
              <a:lnSpc>
                <a:spcPct val="100000"/>
              </a:lnSpc>
              <a:spcAft>
                <a:spcPts val="0"/>
              </a:spcAft>
              <a:buFont typeface="DFDS Sans" panose="00000500000000000000" pitchFamily="2" charset="0"/>
              <a:buChar char="​"/>
              <a:defRPr sz="1000" b="0">
                <a:solidFill>
                  <a:schemeClr val="bg1"/>
                </a:solidFill>
              </a:defRPr>
            </a:lvl9pPr>
          </a:lstStyle>
          <a:p>
            <a:r>
              <a:rPr lang="en-GB"/>
              <a:t>Click to add event name</a:t>
            </a:r>
          </a:p>
        </p:txBody>
      </p:sp>
      <p:sp>
        <p:nvSpPr>
          <p:cNvPr id="37" name="Date Placeholder 36">
            <a:extLst>
              <a:ext uri="{FF2B5EF4-FFF2-40B4-BE49-F238E27FC236}">
                <a16:creationId xmlns:a16="http://schemas.microsoft.com/office/drawing/2014/main" id="{FEB58EF0-72CE-E9B0-DAF2-2DAEE50ABF86}"/>
              </a:ext>
            </a:extLst>
          </p:cNvPr>
          <p:cNvSpPr>
            <a:spLocks noGrp="1"/>
          </p:cNvSpPr>
          <p:nvPr>
            <p:ph type="dt" sz="half" idx="19"/>
          </p:nvPr>
        </p:nvSpPr>
        <p:spPr bwMode="white">
          <a:xfrm>
            <a:off x="3227387" y="6442538"/>
            <a:ext cx="1792287" cy="144000"/>
          </a:xfrm>
        </p:spPr>
        <p:txBody>
          <a:bodyPr/>
          <a:lstStyle>
            <a:lvl1pPr>
              <a:defRPr>
                <a:solidFill>
                  <a:schemeClr val="bg1"/>
                </a:solidFill>
              </a:defRPr>
            </a:lvl1pPr>
          </a:lstStyle>
          <a:p>
            <a:fld id="{B164538D-7B37-4475-ABC7-B8F47B69B614}" type="datetime4">
              <a:rPr lang="en-GB" smtClean="0"/>
              <a:t>20 February 2025</a:t>
            </a:fld>
            <a:endParaRPr lang="en-GB"/>
          </a:p>
        </p:txBody>
      </p:sp>
    </p:spTree>
    <p:extLst>
      <p:ext uri="{BB962C8B-B14F-4D97-AF65-F5344CB8AC3E}">
        <p14:creationId xmlns:p14="http://schemas.microsoft.com/office/powerpoint/2010/main" val="276651945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C">
    <p:bg>
      <p:bgRef idx="1001">
        <a:schemeClr val="bg2"/>
      </p:bgRef>
    </p:bg>
    <p:spTree>
      <p:nvGrpSpPr>
        <p:cNvPr id="1" name=""/>
        <p:cNvGrpSpPr/>
        <p:nvPr/>
      </p:nvGrpSpPr>
      <p:grpSpPr>
        <a:xfrm>
          <a:off x="0" y="0"/>
          <a:ext cx="0" cy="0"/>
          <a:chOff x="0" y="0"/>
          <a:chExt cx="0" cy="0"/>
        </a:xfrm>
      </p:grpSpPr>
      <p:sp>
        <p:nvSpPr>
          <p:cNvPr id="6" name="Background">
            <a:extLst>
              <a:ext uri="{FF2B5EF4-FFF2-40B4-BE49-F238E27FC236}">
                <a16:creationId xmlns:a16="http://schemas.microsoft.com/office/drawing/2014/main" id="{A45011CE-8235-5398-E88F-503482890772}"/>
              </a:ext>
            </a:extLst>
          </p:cNvPr>
          <p:cNvSpPr/>
          <p:nvPr userDrawn="1"/>
        </p:nvSpPr>
        <p:spPr>
          <a:xfrm>
            <a:off x="0" y="0"/>
            <a:ext cx="12192000" cy="6858000"/>
          </a:xfrm>
          <a:prstGeom prst="rect">
            <a:avLst/>
          </a:prstGeom>
          <a:solidFill>
            <a:srgbClr val="2369F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a:extLst>
              <a:ext uri="{FF2B5EF4-FFF2-40B4-BE49-F238E27FC236}">
                <a16:creationId xmlns:a16="http://schemas.microsoft.com/office/drawing/2014/main" id="{24C9D909-49D5-40E7-8A46-904F4218013D}"/>
              </a:ext>
            </a:extLst>
          </p:cNvPr>
          <p:cNvSpPr>
            <a:spLocks noGrp="1"/>
          </p:cNvSpPr>
          <p:nvPr>
            <p:ph type="title" hasCustomPrompt="1"/>
          </p:nvPr>
        </p:nvSpPr>
        <p:spPr bwMode="white">
          <a:xfrm>
            <a:off x="266700" y="269875"/>
            <a:ext cx="11653838" cy="930275"/>
          </a:xfrm>
        </p:spPr>
        <p:txBody>
          <a:bodyPr/>
          <a:lstStyle>
            <a:lvl1pPr>
              <a:defRPr>
                <a:solidFill>
                  <a:schemeClr val="tx1"/>
                </a:solidFill>
              </a:defRPr>
            </a:lvl1pPr>
          </a:lstStyle>
          <a:p>
            <a:r>
              <a:rPr lang="en-GB"/>
              <a:t>Click to add title</a:t>
            </a:r>
          </a:p>
        </p:txBody>
      </p:sp>
      <p:sp>
        <p:nvSpPr>
          <p:cNvPr id="3" name="Date Placeholder 2">
            <a:extLst>
              <a:ext uri="{FF2B5EF4-FFF2-40B4-BE49-F238E27FC236}">
                <a16:creationId xmlns:a16="http://schemas.microsoft.com/office/drawing/2014/main" id="{567012D6-48ED-4B03-85DE-25086AACDB85}"/>
              </a:ext>
            </a:extLst>
          </p:cNvPr>
          <p:cNvSpPr>
            <a:spLocks noGrp="1"/>
          </p:cNvSpPr>
          <p:nvPr>
            <p:ph type="dt" sz="half" idx="10"/>
          </p:nvPr>
        </p:nvSpPr>
        <p:spPr>
          <a:xfrm>
            <a:off x="0" y="6858000"/>
            <a:ext cx="0" cy="0"/>
          </a:xfrm>
          <a:prstGeom prst="rect">
            <a:avLst/>
          </a:prstGeom>
        </p:spPr>
        <p:txBody>
          <a:bodyPr/>
          <a:lstStyle>
            <a:lvl1pPr>
              <a:defRPr sz="100">
                <a:noFill/>
              </a:defRPr>
            </a:lvl1pPr>
          </a:lstStyle>
          <a:p>
            <a:fld id="{DA52EC26-3BF7-4138-BC0F-03D03EAD30E6}" type="datetime4">
              <a:rPr lang="en-GB" smtClean="0"/>
              <a:t>20 February 2025</a:t>
            </a:fld>
            <a:endParaRPr lang="en-GB"/>
          </a:p>
        </p:txBody>
      </p:sp>
      <p:sp>
        <p:nvSpPr>
          <p:cNvPr id="4" name="Footer Placeholder 3">
            <a:extLst>
              <a:ext uri="{FF2B5EF4-FFF2-40B4-BE49-F238E27FC236}">
                <a16:creationId xmlns:a16="http://schemas.microsoft.com/office/drawing/2014/main" id="{E57AB716-0309-754C-0B7E-73C48AD71CAD}"/>
              </a:ext>
            </a:extLst>
          </p:cNvPr>
          <p:cNvSpPr>
            <a:spLocks noGrp="1"/>
          </p:cNvSpPr>
          <p:nvPr>
            <p:ph type="ftr" sz="quarter" idx="11"/>
          </p:nvPr>
        </p:nvSpPr>
        <p:spPr bwMode="white"/>
        <p:txBody>
          <a:bodyPr/>
          <a:lstStyle>
            <a:lvl1pPr>
              <a:defRPr>
                <a:solidFill>
                  <a:schemeClr val="tx1"/>
                </a:solidFill>
              </a:defRPr>
            </a:lvl1pPr>
          </a:lstStyle>
          <a:p>
            <a:endParaRPr lang="en-GB"/>
          </a:p>
        </p:txBody>
      </p:sp>
      <p:sp>
        <p:nvSpPr>
          <p:cNvPr id="5" name="Slide Number Placeholder 4">
            <a:extLst>
              <a:ext uri="{FF2B5EF4-FFF2-40B4-BE49-F238E27FC236}">
                <a16:creationId xmlns:a16="http://schemas.microsoft.com/office/drawing/2014/main" id="{CC321AA5-6588-9A37-5A5C-D63E7CD1804C}"/>
              </a:ext>
            </a:extLst>
          </p:cNvPr>
          <p:cNvSpPr>
            <a:spLocks noGrp="1"/>
          </p:cNvSpPr>
          <p:nvPr>
            <p:ph type="sldNum" sz="quarter" idx="12"/>
          </p:nvPr>
        </p:nvSpPr>
        <p:spPr bwMode="white"/>
        <p:txBody>
          <a:bodyPr/>
          <a:lstStyle>
            <a:lvl1pPr>
              <a:defRPr>
                <a:solidFill>
                  <a:schemeClr val="tx1"/>
                </a:solidFill>
              </a:defRPr>
            </a:lvl1pPr>
          </a:lstStyle>
          <a:p>
            <a:fld id="{23AA811B-2EBD-4900-905E-5BE206449611}" type="slidenum">
              <a:rPr lang="en-GB" smtClean="0"/>
              <a:pPr/>
              <a:t>‹#›</a:t>
            </a:fld>
            <a:endParaRPr lang="en-GB"/>
          </a:p>
        </p:txBody>
      </p:sp>
      <p:sp>
        <p:nvSpPr>
          <p:cNvPr id="8" name="Footer logo">
            <a:extLst>
              <a:ext uri="{FF2B5EF4-FFF2-40B4-BE49-F238E27FC236}">
                <a16:creationId xmlns:a16="http://schemas.microsoft.com/office/drawing/2014/main" id="{025AB8C5-57F0-51C3-E05C-C9F0ABE6318E}"/>
              </a:ext>
            </a:extLst>
          </p:cNvPr>
          <p:cNvSpPr>
            <a:spLocks noChangeAspect="1"/>
          </p:cNvSpPr>
          <p:nvPr userDrawn="1"/>
        </p:nvSpPr>
        <p:spPr>
          <a:xfrm>
            <a:off x="11634124" y="6504694"/>
            <a:ext cx="288000" cy="81844"/>
          </a:xfrm>
          <a:custGeom>
            <a:avLst/>
            <a:gdLst>
              <a:gd name="connsiteX0" fmla="*/ 109963 w 193596"/>
              <a:gd name="connsiteY0" fmla="*/ 11125 h 55016"/>
              <a:gd name="connsiteX1" fmla="*/ 109963 w 193596"/>
              <a:gd name="connsiteY1" fmla="*/ 43891 h 55016"/>
              <a:gd name="connsiteX2" fmla="*/ 118345 w 193596"/>
              <a:gd name="connsiteY2" fmla="*/ 43891 h 55016"/>
              <a:gd name="connsiteX3" fmla="*/ 133356 w 193596"/>
              <a:gd name="connsiteY3" fmla="*/ 27356 h 55016"/>
              <a:gd name="connsiteX4" fmla="*/ 118421 w 193596"/>
              <a:gd name="connsiteY4" fmla="*/ 11125 h 55016"/>
              <a:gd name="connsiteX5" fmla="*/ 11811 w 193596"/>
              <a:gd name="connsiteY5" fmla="*/ 11125 h 55016"/>
              <a:gd name="connsiteX6" fmla="*/ 11811 w 193596"/>
              <a:gd name="connsiteY6" fmla="*/ 43891 h 55016"/>
              <a:gd name="connsiteX7" fmla="*/ 20193 w 193596"/>
              <a:gd name="connsiteY7" fmla="*/ 43891 h 55016"/>
              <a:gd name="connsiteX8" fmla="*/ 35204 w 193596"/>
              <a:gd name="connsiteY8" fmla="*/ 27356 h 55016"/>
              <a:gd name="connsiteX9" fmla="*/ 20269 w 193596"/>
              <a:gd name="connsiteY9" fmla="*/ 11125 h 55016"/>
              <a:gd name="connsiteX10" fmla="*/ 98152 w 193596"/>
              <a:gd name="connsiteY10" fmla="*/ 838 h 55016"/>
              <a:gd name="connsiteX11" fmla="*/ 119564 w 193596"/>
              <a:gd name="connsiteY11" fmla="*/ 838 h 55016"/>
              <a:gd name="connsiteX12" fmla="*/ 145396 w 193596"/>
              <a:gd name="connsiteY12" fmla="*/ 27356 h 55016"/>
              <a:gd name="connsiteX13" fmla="*/ 119564 w 193596"/>
              <a:gd name="connsiteY13" fmla="*/ 54178 h 55016"/>
              <a:gd name="connsiteX14" fmla="*/ 98152 w 193596"/>
              <a:gd name="connsiteY14" fmla="*/ 54178 h 55016"/>
              <a:gd name="connsiteX15" fmla="*/ 55438 w 193596"/>
              <a:gd name="connsiteY15" fmla="*/ 838 h 55016"/>
              <a:gd name="connsiteX16" fmla="*/ 89728 w 193596"/>
              <a:gd name="connsiteY16" fmla="*/ 838 h 55016"/>
              <a:gd name="connsiteX17" fmla="*/ 89728 w 193596"/>
              <a:gd name="connsiteY17" fmla="*/ 11049 h 55016"/>
              <a:gd name="connsiteX18" fmla="*/ 67249 w 193596"/>
              <a:gd name="connsiteY18" fmla="*/ 11049 h 55016"/>
              <a:gd name="connsiteX19" fmla="*/ 67249 w 193596"/>
              <a:gd name="connsiteY19" fmla="*/ 23774 h 55016"/>
              <a:gd name="connsiteX20" fmla="*/ 89042 w 193596"/>
              <a:gd name="connsiteY20" fmla="*/ 23774 h 55016"/>
              <a:gd name="connsiteX21" fmla="*/ 89042 w 193596"/>
              <a:gd name="connsiteY21" fmla="*/ 33909 h 55016"/>
              <a:gd name="connsiteX22" fmla="*/ 67249 w 193596"/>
              <a:gd name="connsiteY22" fmla="*/ 33909 h 55016"/>
              <a:gd name="connsiteX23" fmla="*/ 67249 w 193596"/>
              <a:gd name="connsiteY23" fmla="*/ 54178 h 55016"/>
              <a:gd name="connsiteX24" fmla="*/ 55438 w 193596"/>
              <a:gd name="connsiteY24" fmla="*/ 54178 h 55016"/>
              <a:gd name="connsiteX25" fmla="*/ 0 w 193596"/>
              <a:gd name="connsiteY25" fmla="*/ 838 h 55016"/>
              <a:gd name="connsiteX26" fmla="*/ 21412 w 193596"/>
              <a:gd name="connsiteY26" fmla="*/ 838 h 55016"/>
              <a:gd name="connsiteX27" fmla="*/ 47244 w 193596"/>
              <a:gd name="connsiteY27" fmla="*/ 27356 h 55016"/>
              <a:gd name="connsiteX28" fmla="*/ 21412 w 193596"/>
              <a:gd name="connsiteY28" fmla="*/ 54178 h 55016"/>
              <a:gd name="connsiteX29" fmla="*/ 0 w 193596"/>
              <a:gd name="connsiteY29" fmla="*/ 54178 h 55016"/>
              <a:gd name="connsiteX30" fmla="*/ 172031 w 193596"/>
              <a:gd name="connsiteY30" fmla="*/ 0 h 55016"/>
              <a:gd name="connsiteX31" fmla="*/ 192605 w 193596"/>
              <a:gd name="connsiteY31" fmla="*/ 16459 h 55016"/>
              <a:gd name="connsiteX32" fmla="*/ 180642 w 193596"/>
              <a:gd name="connsiteY32" fmla="*/ 16459 h 55016"/>
              <a:gd name="connsiteX33" fmla="*/ 172031 w 193596"/>
              <a:gd name="connsiteY33" fmla="*/ 9982 h 55016"/>
              <a:gd name="connsiteX34" fmla="*/ 163725 w 193596"/>
              <a:gd name="connsiteY34" fmla="*/ 15545 h 55016"/>
              <a:gd name="connsiteX35" fmla="*/ 170202 w 193596"/>
              <a:gd name="connsiteY35" fmla="*/ 20803 h 55016"/>
              <a:gd name="connsiteX36" fmla="*/ 178127 w 193596"/>
              <a:gd name="connsiteY36" fmla="*/ 22327 h 55016"/>
              <a:gd name="connsiteX37" fmla="*/ 193596 w 193596"/>
              <a:gd name="connsiteY37" fmla="*/ 38176 h 55016"/>
              <a:gd name="connsiteX38" fmla="*/ 172793 w 193596"/>
              <a:gd name="connsiteY38" fmla="*/ 55016 h 55016"/>
              <a:gd name="connsiteX39" fmla="*/ 151000 w 193596"/>
              <a:gd name="connsiteY39" fmla="*/ 37871 h 55016"/>
              <a:gd name="connsiteX40" fmla="*/ 162963 w 193596"/>
              <a:gd name="connsiteY40" fmla="*/ 37871 h 55016"/>
              <a:gd name="connsiteX41" fmla="*/ 172717 w 193596"/>
              <a:gd name="connsiteY41" fmla="*/ 45034 h 55016"/>
              <a:gd name="connsiteX42" fmla="*/ 181632 w 193596"/>
              <a:gd name="connsiteY42" fmla="*/ 38862 h 55016"/>
              <a:gd name="connsiteX43" fmla="*/ 174774 w 193596"/>
              <a:gd name="connsiteY43" fmla="*/ 32918 h 55016"/>
              <a:gd name="connsiteX44" fmla="*/ 167078 w 193596"/>
              <a:gd name="connsiteY44" fmla="*/ 31471 h 55016"/>
              <a:gd name="connsiteX45" fmla="*/ 151686 w 193596"/>
              <a:gd name="connsiteY45" fmla="*/ 16078 h 55016"/>
              <a:gd name="connsiteX46" fmla="*/ 172031 w 193596"/>
              <a:gd name="connsiteY46" fmla="*/ 0 h 55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3596" h="55016">
                <a:moveTo>
                  <a:pt x="109963" y="11125"/>
                </a:moveTo>
                <a:lnTo>
                  <a:pt x="109963" y="43891"/>
                </a:lnTo>
                <a:lnTo>
                  <a:pt x="118345" y="43891"/>
                </a:lnTo>
                <a:cubicBezTo>
                  <a:pt x="126498" y="43891"/>
                  <a:pt x="133356" y="38786"/>
                  <a:pt x="133356" y="27356"/>
                </a:cubicBezTo>
                <a:cubicBezTo>
                  <a:pt x="133356" y="16611"/>
                  <a:pt x="127032" y="11125"/>
                  <a:pt x="118421" y="11125"/>
                </a:cubicBezTo>
                <a:close/>
                <a:moveTo>
                  <a:pt x="11811" y="11125"/>
                </a:moveTo>
                <a:lnTo>
                  <a:pt x="11811" y="43891"/>
                </a:lnTo>
                <a:lnTo>
                  <a:pt x="20193" y="43891"/>
                </a:lnTo>
                <a:cubicBezTo>
                  <a:pt x="28346" y="43891"/>
                  <a:pt x="35204" y="38786"/>
                  <a:pt x="35204" y="27356"/>
                </a:cubicBezTo>
                <a:cubicBezTo>
                  <a:pt x="35204" y="16611"/>
                  <a:pt x="28880" y="11125"/>
                  <a:pt x="20269" y="11125"/>
                </a:cubicBezTo>
                <a:close/>
                <a:moveTo>
                  <a:pt x="98152" y="838"/>
                </a:moveTo>
                <a:lnTo>
                  <a:pt x="119564" y="838"/>
                </a:lnTo>
                <a:cubicBezTo>
                  <a:pt x="135338" y="838"/>
                  <a:pt x="145396" y="11582"/>
                  <a:pt x="145396" y="27356"/>
                </a:cubicBezTo>
                <a:cubicBezTo>
                  <a:pt x="145396" y="43434"/>
                  <a:pt x="135338" y="54178"/>
                  <a:pt x="119564" y="54178"/>
                </a:cubicBezTo>
                <a:lnTo>
                  <a:pt x="98152" y="54178"/>
                </a:lnTo>
                <a:close/>
                <a:moveTo>
                  <a:pt x="55438" y="838"/>
                </a:moveTo>
                <a:lnTo>
                  <a:pt x="89728" y="838"/>
                </a:lnTo>
                <a:lnTo>
                  <a:pt x="89728" y="11049"/>
                </a:lnTo>
                <a:lnTo>
                  <a:pt x="67249" y="11049"/>
                </a:lnTo>
                <a:lnTo>
                  <a:pt x="67249" y="23774"/>
                </a:lnTo>
                <a:lnTo>
                  <a:pt x="89042" y="23774"/>
                </a:lnTo>
                <a:lnTo>
                  <a:pt x="89042" y="33909"/>
                </a:lnTo>
                <a:lnTo>
                  <a:pt x="67249" y="33909"/>
                </a:lnTo>
                <a:lnTo>
                  <a:pt x="67249" y="54178"/>
                </a:lnTo>
                <a:lnTo>
                  <a:pt x="55438" y="54178"/>
                </a:lnTo>
                <a:close/>
                <a:moveTo>
                  <a:pt x="0" y="838"/>
                </a:moveTo>
                <a:lnTo>
                  <a:pt x="21412" y="838"/>
                </a:lnTo>
                <a:cubicBezTo>
                  <a:pt x="37186" y="838"/>
                  <a:pt x="47244" y="11582"/>
                  <a:pt x="47244" y="27356"/>
                </a:cubicBezTo>
                <a:cubicBezTo>
                  <a:pt x="47244" y="43434"/>
                  <a:pt x="37186" y="54178"/>
                  <a:pt x="21412" y="54178"/>
                </a:cubicBezTo>
                <a:lnTo>
                  <a:pt x="0" y="54178"/>
                </a:lnTo>
                <a:close/>
                <a:moveTo>
                  <a:pt x="172031" y="0"/>
                </a:moveTo>
                <a:cubicBezTo>
                  <a:pt x="183614" y="0"/>
                  <a:pt x="191538" y="6629"/>
                  <a:pt x="192605" y="16459"/>
                </a:cubicBezTo>
                <a:lnTo>
                  <a:pt x="180642" y="16459"/>
                </a:lnTo>
                <a:cubicBezTo>
                  <a:pt x="179727" y="12421"/>
                  <a:pt x="177213" y="9982"/>
                  <a:pt x="172031" y="9982"/>
                </a:cubicBezTo>
                <a:cubicBezTo>
                  <a:pt x="167764" y="9982"/>
                  <a:pt x="163725" y="11659"/>
                  <a:pt x="163725" y="15545"/>
                </a:cubicBezTo>
                <a:cubicBezTo>
                  <a:pt x="163725" y="18517"/>
                  <a:pt x="166164" y="19964"/>
                  <a:pt x="170202" y="20803"/>
                </a:cubicBezTo>
                <a:lnTo>
                  <a:pt x="178127" y="22327"/>
                </a:lnTo>
                <a:cubicBezTo>
                  <a:pt x="187805" y="24155"/>
                  <a:pt x="193596" y="29489"/>
                  <a:pt x="193596" y="38176"/>
                </a:cubicBezTo>
                <a:cubicBezTo>
                  <a:pt x="193596" y="49454"/>
                  <a:pt x="183842" y="55016"/>
                  <a:pt x="172793" y="55016"/>
                </a:cubicBezTo>
                <a:cubicBezTo>
                  <a:pt x="159839" y="55016"/>
                  <a:pt x="152219" y="47701"/>
                  <a:pt x="151000" y="37871"/>
                </a:cubicBezTo>
                <a:lnTo>
                  <a:pt x="162963" y="37871"/>
                </a:lnTo>
                <a:cubicBezTo>
                  <a:pt x="163649" y="42367"/>
                  <a:pt x="167383" y="45034"/>
                  <a:pt x="172717" y="45034"/>
                </a:cubicBezTo>
                <a:cubicBezTo>
                  <a:pt x="177365" y="45034"/>
                  <a:pt x="181632" y="43053"/>
                  <a:pt x="181632" y="38862"/>
                </a:cubicBezTo>
                <a:cubicBezTo>
                  <a:pt x="181632" y="35738"/>
                  <a:pt x="179194" y="33757"/>
                  <a:pt x="174774" y="32918"/>
                </a:cubicBezTo>
                <a:lnTo>
                  <a:pt x="167078" y="31471"/>
                </a:lnTo>
                <a:cubicBezTo>
                  <a:pt x="158010" y="29947"/>
                  <a:pt x="151686" y="24841"/>
                  <a:pt x="151686" y="16078"/>
                </a:cubicBezTo>
                <a:cubicBezTo>
                  <a:pt x="151686" y="5105"/>
                  <a:pt x="161820" y="0"/>
                  <a:pt x="172031" y="0"/>
                </a:cubicBezTo>
                <a:close/>
              </a:path>
            </a:pathLst>
          </a:custGeom>
          <a:solidFill>
            <a:schemeClr val="tx1"/>
          </a:solidFill>
          <a:ln w="9525" cap="flat">
            <a:noFill/>
            <a:prstDash val="solid"/>
            <a:miter/>
          </a:ln>
        </p:spPr>
        <p:txBody>
          <a:bodyPr rtlCol="0" anchor="ctr"/>
          <a:lstStyle/>
          <a:p>
            <a:endParaRPr lang="en-GB">
              <a:solidFill>
                <a:schemeClr val="tx1"/>
              </a:solidFill>
            </a:endParaRPr>
          </a:p>
        </p:txBody>
      </p:sp>
    </p:spTree>
    <p:extLst>
      <p:ext uri="{BB962C8B-B14F-4D97-AF65-F5344CB8AC3E}">
        <p14:creationId xmlns:p14="http://schemas.microsoft.com/office/powerpoint/2010/main" val="2891237216"/>
      </p:ext>
    </p:extLst>
  </p:cSld>
  <p:clrMapOvr>
    <a:overrideClrMapping bg1="dk1" tx1="lt1" bg2="dk2" tx2="lt2" accent1="accent1" accent2="lt1"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D">
    <p:bg>
      <p:bgRef idx="1001">
        <a:schemeClr val="bg2"/>
      </p:bgRef>
    </p:bg>
    <p:spTree>
      <p:nvGrpSpPr>
        <p:cNvPr id="1" name=""/>
        <p:cNvGrpSpPr/>
        <p:nvPr/>
      </p:nvGrpSpPr>
      <p:grpSpPr>
        <a:xfrm>
          <a:off x="0" y="0"/>
          <a:ext cx="0" cy="0"/>
          <a:chOff x="0" y="0"/>
          <a:chExt cx="0" cy="0"/>
        </a:xfrm>
      </p:grpSpPr>
      <p:sp>
        <p:nvSpPr>
          <p:cNvPr id="6" name="Background">
            <a:extLst>
              <a:ext uri="{FF2B5EF4-FFF2-40B4-BE49-F238E27FC236}">
                <a16:creationId xmlns:a16="http://schemas.microsoft.com/office/drawing/2014/main" id="{A45011CE-8235-5398-E88F-503482890772}"/>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a:extLst>
              <a:ext uri="{FF2B5EF4-FFF2-40B4-BE49-F238E27FC236}">
                <a16:creationId xmlns:a16="http://schemas.microsoft.com/office/drawing/2014/main" id="{24C9D909-49D5-40E7-8A46-904F4218013D}"/>
              </a:ext>
            </a:extLst>
          </p:cNvPr>
          <p:cNvSpPr>
            <a:spLocks noGrp="1"/>
          </p:cNvSpPr>
          <p:nvPr>
            <p:ph type="title" hasCustomPrompt="1"/>
          </p:nvPr>
        </p:nvSpPr>
        <p:spPr bwMode="white">
          <a:xfrm>
            <a:off x="266700" y="269875"/>
            <a:ext cx="11653838" cy="930275"/>
          </a:xfrm>
        </p:spPr>
        <p:txBody>
          <a:bodyPr/>
          <a:lstStyle>
            <a:lvl1pPr>
              <a:defRPr>
                <a:solidFill>
                  <a:schemeClr val="tx1"/>
                </a:solidFill>
              </a:defRPr>
            </a:lvl1pPr>
          </a:lstStyle>
          <a:p>
            <a:r>
              <a:rPr lang="en-GB"/>
              <a:t>Click to add title</a:t>
            </a:r>
          </a:p>
        </p:txBody>
      </p:sp>
      <p:sp>
        <p:nvSpPr>
          <p:cNvPr id="3" name="Date Placeholder 2">
            <a:extLst>
              <a:ext uri="{FF2B5EF4-FFF2-40B4-BE49-F238E27FC236}">
                <a16:creationId xmlns:a16="http://schemas.microsoft.com/office/drawing/2014/main" id="{567012D6-48ED-4B03-85DE-25086AACDB85}"/>
              </a:ext>
            </a:extLst>
          </p:cNvPr>
          <p:cNvSpPr>
            <a:spLocks noGrp="1"/>
          </p:cNvSpPr>
          <p:nvPr>
            <p:ph type="dt" sz="half" idx="10"/>
          </p:nvPr>
        </p:nvSpPr>
        <p:spPr>
          <a:xfrm>
            <a:off x="0" y="6858000"/>
            <a:ext cx="0" cy="0"/>
          </a:xfrm>
          <a:prstGeom prst="rect">
            <a:avLst/>
          </a:prstGeom>
        </p:spPr>
        <p:txBody>
          <a:bodyPr/>
          <a:lstStyle>
            <a:lvl1pPr>
              <a:defRPr sz="100">
                <a:noFill/>
              </a:defRPr>
            </a:lvl1pPr>
          </a:lstStyle>
          <a:p>
            <a:fld id="{42DD2F1D-07BE-401A-A780-043F276CEF55}" type="datetime4">
              <a:rPr lang="en-GB" smtClean="0"/>
              <a:t>20 February 2025</a:t>
            </a:fld>
            <a:endParaRPr lang="en-GB"/>
          </a:p>
        </p:txBody>
      </p:sp>
      <p:sp>
        <p:nvSpPr>
          <p:cNvPr id="4" name="Footer Placeholder 3">
            <a:extLst>
              <a:ext uri="{FF2B5EF4-FFF2-40B4-BE49-F238E27FC236}">
                <a16:creationId xmlns:a16="http://schemas.microsoft.com/office/drawing/2014/main" id="{E57AB716-0309-754C-0B7E-73C48AD71CAD}"/>
              </a:ext>
            </a:extLst>
          </p:cNvPr>
          <p:cNvSpPr>
            <a:spLocks noGrp="1"/>
          </p:cNvSpPr>
          <p:nvPr>
            <p:ph type="ftr" sz="quarter" idx="11"/>
          </p:nvPr>
        </p:nvSpPr>
        <p:spPr bwMode="white"/>
        <p:txBody>
          <a:bodyPr/>
          <a:lstStyle>
            <a:lvl1pPr>
              <a:defRPr>
                <a:solidFill>
                  <a:schemeClr val="tx1"/>
                </a:solidFill>
              </a:defRPr>
            </a:lvl1pPr>
          </a:lstStyle>
          <a:p>
            <a:endParaRPr lang="en-GB"/>
          </a:p>
        </p:txBody>
      </p:sp>
      <p:sp>
        <p:nvSpPr>
          <p:cNvPr id="5" name="Slide Number Placeholder 4">
            <a:extLst>
              <a:ext uri="{FF2B5EF4-FFF2-40B4-BE49-F238E27FC236}">
                <a16:creationId xmlns:a16="http://schemas.microsoft.com/office/drawing/2014/main" id="{CC321AA5-6588-9A37-5A5C-D63E7CD1804C}"/>
              </a:ext>
            </a:extLst>
          </p:cNvPr>
          <p:cNvSpPr>
            <a:spLocks noGrp="1"/>
          </p:cNvSpPr>
          <p:nvPr>
            <p:ph type="sldNum" sz="quarter" idx="12"/>
          </p:nvPr>
        </p:nvSpPr>
        <p:spPr bwMode="white"/>
        <p:txBody>
          <a:bodyPr/>
          <a:lstStyle>
            <a:lvl1pPr>
              <a:defRPr>
                <a:solidFill>
                  <a:schemeClr val="tx1"/>
                </a:solidFill>
              </a:defRPr>
            </a:lvl1pPr>
          </a:lstStyle>
          <a:p>
            <a:fld id="{23AA811B-2EBD-4900-905E-5BE206449611}" type="slidenum">
              <a:rPr lang="en-GB" smtClean="0"/>
              <a:pPr/>
              <a:t>‹#›</a:t>
            </a:fld>
            <a:endParaRPr lang="en-GB"/>
          </a:p>
        </p:txBody>
      </p:sp>
      <p:sp>
        <p:nvSpPr>
          <p:cNvPr id="8" name="Footer logo">
            <a:extLst>
              <a:ext uri="{FF2B5EF4-FFF2-40B4-BE49-F238E27FC236}">
                <a16:creationId xmlns:a16="http://schemas.microsoft.com/office/drawing/2014/main" id="{BE3FBE93-A29E-2F77-B035-5DB266730226}"/>
              </a:ext>
            </a:extLst>
          </p:cNvPr>
          <p:cNvSpPr>
            <a:spLocks noChangeAspect="1"/>
          </p:cNvSpPr>
          <p:nvPr userDrawn="1"/>
        </p:nvSpPr>
        <p:spPr>
          <a:xfrm>
            <a:off x="11634124" y="6504694"/>
            <a:ext cx="288000" cy="81844"/>
          </a:xfrm>
          <a:custGeom>
            <a:avLst/>
            <a:gdLst>
              <a:gd name="connsiteX0" fmla="*/ 109963 w 193596"/>
              <a:gd name="connsiteY0" fmla="*/ 11125 h 55016"/>
              <a:gd name="connsiteX1" fmla="*/ 109963 w 193596"/>
              <a:gd name="connsiteY1" fmla="*/ 43891 h 55016"/>
              <a:gd name="connsiteX2" fmla="*/ 118345 w 193596"/>
              <a:gd name="connsiteY2" fmla="*/ 43891 h 55016"/>
              <a:gd name="connsiteX3" fmla="*/ 133356 w 193596"/>
              <a:gd name="connsiteY3" fmla="*/ 27356 h 55016"/>
              <a:gd name="connsiteX4" fmla="*/ 118421 w 193596"/>
              <a:gd name="connsiteY4" fmla="*/ 11125 h 55016"/>
              <a:gd name="connsiteX5" fmla="*/ 11811 w 193596"/>
              <a:gd name="connsiteY5" fmla="*/ 11125 h 55016"/>
              <a:gd name="connsiteX6" fmla="*/ 11811 w 193596"/>
              <a:gd name="connsiteY6" fmla="*/ 43891 h 55016"/>
              <a:gd name="connsiteX7" fmla="*/ 20193 w 193596"/>
              <a:gd name="connsiteY7" fmla="*/ 43891 h 55016"/>
              <a:gd name="connsiteX8" fmla="*/ 35204 w 193596"/>
              <a:gd name="connsiteY8" fmla="*/ 27356 h 55016"/>
              <a:gd name="connsiteX9" fmla="*/ 20269 w 193596"/>
              <a:gd name="connsiteY9" fmla="*/ 11125 h 55016"/>
              <a:gd name="connsiteX10" fmla="*/ 98152 w 193596"/>
              <a:gd name="connsiteY10" fmla="*/ 838 h 55016"/>
              <a:gd name="connsiteX11" fmla="*/ 119564 w 193596"/>
              <a:gd name="connsiteY11" fmla="*/ 838 h 55016"/>
              <a:gd name="connsiteX12" fmla="*/ 145396 w 193596"/>
              <a:gd name="connsiteY12" fmla="*/ 27356 h 55016"/>
              <a:gd name="connsiteX13" fmla="*/ 119564 w 193596"/>
              <a:gd name="connsiteY13" fmla="*/ 54178 h 55016"/>
              <a:gd name="connsiteX14" fmla="*/ 98152 w 193596"/>
              <a:gd name="connsiteY14" fmla="*/ 54178 h 55016"/>
              <a:gd name="connsiteX15" fmla="*/ 55438 w 193596"/>
              <a:gd name="connsiteY15" fmla="*/ 838 h 55016"/>
              <a:gd name="connsiteX16" fmla="*/ 89728 w 193596"/>
              <a:gd name="connsiteY16" fmla="*/ 838 h 55016"/>
              <a:gd name="connsiteX17" fmla="*/ 89728 w 193596"/>
              <a:gd name="connsiteY17" fmla="*/ 11049 h 55016"/>
              <a:gd name="connsiteX18" fmla="*/ 67249 w 193596"/>
              <a:gd name="connsiteY18" fmla="*/ 11049 h 55016"/>
              <a:gd name="connsiteX19" fmla="*/ 67249 w 193596"/>
              <a:gd name="connsiteY19" fmla="*/ 23774 h 55016"/>
              <a:gd name="connsiteX20" fmla="*/ 89042 w 193596"/>
              <a:gd name="connsiteY20" fmla="*/ 23774 h 55016"/>
              <a:gd name="connsiteX21" fmla="*/ 89042 w 193596"/>
              <a:gd name="connsiteY21" fmla="*/ 33909 h 55016"/>
              <a:gd name="connsiteX22" fmla="*/ 67249 w 193596"/>
              <a:gd name="connsiteY22" fmla="*/ 33909 h 55016"/>
              <a:gd name="connsiteX23" fmla="*/ 67249 w 193596"/>
              <a:gd name="connsiteY23" fmla="*/ 54178 h 55016"/>
              <a:gd name="connsiteX24" fmla="*/ 55438 w 193596"/>
              <a:gd name="connsiteY24" fmla="*/ 54178 h 55016"/>
              <a:gd name="connsiteX25" fmla="*/ 0 w 193596"/>
              <a:gd name="connsiteY25" fmla="*/ 838 h 55016"/>
              <a:gd name="connsiteX26" fmla="*/ 21412 w 193596"/>
              <a:gd name="connsiteY26" fmla="*/ 838 h 55016"/>
              <a:gd name="connsiteX27" fmla="*/ 47244 w 193596"/>
              <a:gd name="connsiteY27" fmla="*/ 27356 h 55016"/>
              <a:gd name="connsiteX28" fmla="*/ 21412 w 193596"/>
              <a:gd name="connsiteY28" fmla="*/ 54178 h 55016"/>
              <a:gd name="connsiteX29" fmla="*/ 0 w 193596"/>
              <a:gd name="connsiteY29" fmla="*/ 54178 h 55016"/>
              <a:gd name="connsiteX30" fmla="*/ 172031 w 193596"/>
              <a:gd name="connsiteY30" fmla="*/ 0 h 55016"/>
              <a:gd name="connsiteX31" fmla="*/ 192605 w 193596"/>
              <a:gd name="connsiteY31" fmla="*/ 16459 h 55016"/>
              <a:gd name="connsiteX32" fmla="*/ 180642 w 193596"/>
              <a:gd name="connsiteY32" fmla="*/ 16459 h 55016"/>
              <a:gd name="connsiteX33" fmla="*/ 172031 w 193596"/>
              <a:gd name="connsiteY33" fmla="*/ 9982 h 55016"/>
              <a:gd name="connsiteX34" fmla="*/ 163725 w 193596"/>
              <a:gd name="connsiteY34" fmla="*/ 15545 h 55016"/>
              <a:gd name="connsiteX35" fmla="*/ 170202 w 193596"/>
              <a:gd name="connsiteY35" fmla="*/ 20803 h 55016"/>
              <a:gd name="connsiteX36" fmla="*/ 178127 w 193596"/>
              <a:gd name="connsiteY36" fmla="*/ 22327 h 55016"/>
              <a:gd name="connsiteX37" fmla="*/ 193596 w 193596"/>
              <a:gd name="connsiteY37" fmla="*/ 38176 h 55016"/>
              <a:gd name="connsiteX38" fmla="*/ 172793 w 193596"/>
              <a:gd name="connsiteY38" fmla="*/ 55016 h 55016"/>
              <a:gd name="connsiteX39" fmla="*/ 151000 w 193596"/>
              <a:gd name="connsiteY39" fmla="*/ 37871 h 55016"/>
              <a:gd name="connsiteX40" fmla="*/ 162963 w 193596"/>
              <a:gd name="connsiteY40" fmla="*/ 37871 h 55016"/>
              <a:gd name="connsiteX41" fmla="*/ 172717 w 193596"/>
              <a:gd name="connsiteY41" fmla="*/ 45034 h 55016"/>
              <a:gd name="connsiteX42" fmla="*/ 181632 w 193596"/>
              <a:gd name="connsiteY42" fmla="*/ 38862 h 55016"/>
              <a:gd name="connsiteX43" fmla="*/ 174774 w 193596"/>
              <a:gd name="connsiteY43" fmla="*/ 32918 h 55016"/>
              <a:gd name="connsiteX44" fmla="*/ 167078 w 193596"/>
              <a:gd name="connsiteY44" fmla="*/ 31471 h 55016"/>
              <a:gd name="connsiteX45" fmla="*/ 151686 w 193596"/>
              <a:gd name="connsiteY45" fmla="*/ 16078 h 55016"/>
              <a:gd name="connsiteX46" fmla="*/ 172031 w 193596"/>
              <a:gd name="connsiteY46" fmla="*/ 0 h 55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3596" h="55016">
                <a:moveTo>
                  <a:pt x="109963" y="11125"/>
                </a:moveTo>
                <a:lnTo>
                  <a:pt x="109963" y="43891"/>
                </a:lnTo>
                <a:lnTo>
                  <a:pt x="118345" y="43891"/>
                </a:lnTo>
                <a:cubicBezTo>
                  <a:pt x="126498" y="43891"/>
                  <a:pt x="133356" y="38786"/>
                  <a:pt x="133356" y="27356"/>
                </a:cubicBezTo>
                <a:cubicBezTo>
                  <a:pt x="133356" y="16611"/>
                  <a:pt x="127032" y="11125"/>
                  <a:pt x="118421" y="11125"/>
                </a:cubicBezTo>
                <a:close/>
                <a:moveTo>
                  <a:pt x="11811" y="11125"/>
                </a:moveTo>
                <a:lnTo>
                  <a:pt x="11811" y="43891"/>
                </a:lnTo>
                <a:lnTo>
                  <a:pt x="20193" y="43891"/>
                </a:lnTo>
                <a:cubicBezTo>
                  <a:pt x="28346" y="43891"/>
                  <a:pt x="35204" y="38786"/>
                  <a:pt x="35204" y="27356"/>
                </a:cubicBezTo>
                <a:cubicBezTo>
                  <a:pt x="35204" y="16611"/>
                  <a:pt x="28880" y="11125"/>
                  <a:pt x="20269" y="11125"/>
                </a:cubicBezTo>
                <a:close/>
                <a:moveTo>
                  <a:pt x="98152" y="838"/>
                </a:moveTo>
                <a:lnTo>
                  <a:pt x="119564" y="838"/>
                </a:lnTo>
                <a:cubicBezTo>
                  <a:pt x="135338" y="838"/>
                  <a:pt x="145396" y="11582"/>
                  <a:pt x="145396" y="27356"/>
                </a:cubicBezTo>
                <a:cubicBezTo>
                  <a:pt x="145396" y="43434"/>
                  <a:pt x="135338" y="54178"/>
                  <a:pt x="119564" y="54178"/>
                </a:cubicBezTo>
                <a:lnTo>
                  <a:pt x="98152" y="54178"/>
                </a:lnTo>
                <a:close/>
                <a:moveTo>
                  <a:pt x="55438" y="838"/>
                </a:moveTo>
                <a:lnTo>
                  <a:pt x="89728" y="838"/>
                </a:lnTo>
                <a:lnTo>
                  <a:pt x="89728" y="11049"/>
                </a:lnTo>
                <a:lnTo>
                  <a:pt x="67249" y="11049"/>
                </a:lnTo>
                <a:lnTo>
                  <a:pt x="67249" y="23774"/>
                </a:lnTo>
                <a:lnTo>
                  <a:pt x="89042" y="23774"/>
                </a:lnTo>
                <a:lnTo>
                  <a:pt x="89042" y="33909"/>
                </a:lnTo>
                <a:lnTo>
                  <a:pt x="67249" y="33909"/>
                </a:lnTo>
                <a:lnTo>
                  <a:pt x="67249" y="54178"/>
                </a:lnTo>
                <a:lnTo>
                  <a:pt x="55438" y="54178"/>
                </a:lnTo>
                <a:close/>
                <a:moveTo>
                  <a:pt x="0" y="838"/>
                </a:moveTo>
                <a:lnTo>
                  <a:pt x="21412" y="838"/>
                </a:lnTo>
                <a:cubicBezTo>
                  <a:pt x="37186" y="838"/>
                  <a:pt x="47244" y="11582"/>
                  <a:pt x="47244" y="27356"/>
                </a:cubicBezTo>
                <a:cubicBezTo>
                  <a:pt x="47244" y="43434"/>
                  <a:pt x="37186" y="54178"/>
                  <a:pt x="21412" y="54178"/>
                </a:cubicBezTo>
                <a:lnTo>
                  <a:pt x="0" y="54178"/>
                </a:lnTo>
                <a:close/>
                <a:moveTo>
                  <a:pt x="172031" y="0"/>
                </a:moveTo>
                <a:cubicBezTo>
                  <a:pt x="183614" y="0"/>
                  <a:pt x="191538" y="6629"/>
                  <a:pt x="192605" y="16459"/>
                </a:cubicBezTo>
                <a:lnTo>
                  <a:pt x="180642" y="16459"/>
                </a:lnTo>
                <a:cubicBezTo>
                  <a:pt x="179727" y="12421"/>
                  <a:pt x="177213" y="9982"/>
                  <a:pt x="172031" y="9982"/>
                </a:cubicBezTo>
                <a:cubicBezTo>
                  <a:pt x="167764" y="9982"/>
                  <a:pt x="163725" y="11659"/>
                  <a:pt x="163725" y="15545"/>
                </a:cubicBezTo>
                <a:cubicBezTo>
                  <a:pt x="163725" y="18517"/>
                  <a:pt x="166164" y="19964"/>
                  <a:pt x="170202" y="20803"/>
                </a:cubicBezTo>
                <a:lnTo>
                  <a:pt x="178127" y="22327"/>
                </a:lnTo>
                <a:cubicBezTo>
                  <a:pt x="187805" y="24155"/>
                  <a:pt x="193596" y="29489"/>
                  <a:pt x="193596" y="38176"/>
                </a:cubicBezTo>
                <a:cubicBezTo>
                  <a:pt x="193596" y="49454"/>
                  <a:pt x="183842" y="55016"/>
                  <a:pt x="172793" y="55016"/>
                </a:cubicBezTo>
                <a:cubicBezTo>
                  <a:pt x="159839" y="55016"/>
                  <a:pt x="152219" y="47701"/>
                  <a:pt x="151000" y="37871"/>
                </a:cubicBezTo>
                <a:lnTo>
                  <a:pt x="162963" y="37871"/>
                </a:lnTo>
                <a:cubicBezTo>
                  <a:pt x="163649" y="42367"/>
                  <a:pt x="167383" y="45034"/>
                  <a:pt x="172717" y="45034"/>
                </a:cubicBezTo>
                <a:cubicBezTo>
                  <a:pt x="177365" y="45034"/>
                  <a:pt x="181632" y="43053"/>
                  <a:pt x="181632" y="38862"/>
                </a:cubicBezTo>
                <a:cubicBezTo>
                  <a:pt x="181632" y="35738"/>
                  <a:pt x="179194" y="33757"/>
                  <a:pt x="174774" y="32918"/>
                </a:cubicBezTo>
                <a:lnTo>
                  <a:pt x="167078" y="31471"/>
                </a:lnTo>
                <a:cubicBezTo>
                  <a:pt x="158010" y="29947"/>
                  <a:pt x="151686" y="24841"/>
                  <a:pt x="151686" y="16078"/>
                </a:cubicBezTo>
                <a:cubicBezTo>
                  <a:pt x="151686" y="5105"/>
                  <a:pt x="161820" y="0"/>
                  <a:pt x="172031" y="0"/>
                </a:cubicBezTo>
                <a:close/>
              </a:path>
            </a:pathLst>
          </a:custGeom>
          <a:solidFill>
            <a:schemeClr val="tx1"/>
          </a:solidFill>
          <a:ln w="9525" cap="flat">
            <a:noFill/>
            <a:prstDash val="solid"/>
            <a:miter/>
          </a:ln>
        </p:spPr>
        <p:txBody>
          <a:bodyPr rtlCol="0" anchor="ctr"/>
          <a:lstStyle/>
          <a:p>
            <a:endParaRPr lang="en-GB"/>
          </a:p>
        </p:txBody>
      </p:sp>
    </p:spTree>
    <p:extLst>
      <p:ext uri="{BB962C8B-B14F-4D97-AF65-F5344CB8AC3E}">
        <p14:creationId xmlns:p14="http://schemas.microsoft.com/office/powerpoint/2010/main" val="3633931437"/>
      </p:ext>
    </p:extLst>
  </p:cSld>
  <p:clrMapOvr>
    <a:overrideClrMapping bg1="dk1" tx1="lt1" bg2="dk2" tx2="lt2" accent1="l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144CE4C8-8C5A-2F9E-5705-2FC90C9372FB}"/>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 name="Date Placeholder 4">
            <a:extLst>
              <a:ext uri="{FF2B5EF4-FFF2-40B4-BE49-F238E27FC236}">
                <a16:creationId xmlns:a16="http://schemas.microsoft.com/office/drawing/2014/main" id="{4E1B4C6A-FC10-1448-1E27-DF64D1240D3D}"/>
              </a:ext>
            </a:extLst>
          </p:cNvPr>
          <p:cNvSpPr>
            <a:spLocks noGrp="1"/>
          </p:cNvSpPr>
          <p:nvPr>
            <p:ph type="dt" sz="half" idx="10"/>
          </p:nvPr>
        </p:nvSpPr>
        <p:spPr>
          <a:xfrm>
            <a:off x="0" y="6858000"/>
            <a:ext cx="0" cy="0"/>
          </a:xfrm>
          <a:prstGeom prst="rect">
            <a:avLst/>
          </a:prstGeom>
        </p:spPr>
        <p:txBody>
          <a:bodyPr/>
          <a:lstStyle>
            <a:lvl1pPr>
              <a:defRPr sz="100">
                <a:noFill/>
              </a:defRPr>
            </a:lvl1pPr>
          </a:lstStyle>
          <a:p>
            <a:fld id="{3FE97092-436C-4C2C-9592-8506D31160B8}" type="datetime4">
              <a:rPr lang="en-GB" smtClean="0"/>
              <a:t>20 February 2025</a:t>
            </a:fld>
            <a:endParaRPr lang="en-GB"/>
          </a:p>
        </p:txBody>
      </p:sp>
      <p:sp>
        <p:nvSpPr>
          <p:cNvPr id="6" name="Footer Placeholder 5">
            <a:extLst>
              <a:ext uri="{FF2B5EF4-FFF2-40B4-BE49-F238E27FC236}">
                <a16:creationId xmlns:a16="http://schemas.microsoft.com/office/drawing/2014/main" id="{CE5B82B7-12B0-864B-83F7-D649A621B8F8}"/>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BF7DAA7C-CC91-E906-0AE1-7AD8B8540A5A}"/>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3" name="Footer logo">
            <a:extLst>
              <a:ext uri="{FF2B5EF4-FFF2-40B4-BE49-F238E27FC236}">
                <a16:creationId xmlns:a16="http://schemas.microsoft.com/office/drawing/2014/main" id="{535957BC-FEA1-6E07-EC30-3356D54A9F10}"/>
              </a:ext>
            </a:extLst>
          </p:cNvPr>
          <p:cNvSpPr>
            <a:spLocks noChangeAspect="1"/>
          </p:cNvSpPr>
          <p:nvPr userDrawn="1"/>
        </p:nvSpPr>
        <p:spPr>
          <a:xfrm>
            <a:off x="11634124" y="6504694"/>
            <a:ext cx="288000" cy="81844"/>
          </a:xfrm>
          <a:custGeom>
            <a:avLst/>
            <a:gdLst>
              <a:gd name="connsiteX0" fmla="*/ 109963 w 193596"/>
              <a:gd name="connsiteY0" fmla="*/ 11125 h 55016"/>
              <a:gd name="connsiteX1" fmla="*/ 109963 w 193596"/>
              <a:gd name="connsiteY1" fmla="*/ 43891 h 55016"/>
              <a:gd name="connsiteX2" fmla="*/ 118345 w 193596"/>
              <a:gd name="connsiteY2" fmla="*/ 43891 h 55016"/>
              <a:gd name="connsiteX3" fmla="*/ 133356 w 193596"/>
              <a:gd name="connsiteY3" fmla="*/ 27356 h 55016"/>
              <a:gd name="connsiteX4" fmla="*/ 118421 w 193596"/>
              <a:gd name="connsiteY4" fmla="*/ 11125 h 55016"/>
              <a:gd name="connsiteX5" fmla="*/ 11811 w 193596"/>
              <a:gd name="connsiteY5" fmla="*/ 11125 h 55016"/>
              <a:gd name="connsiteX6" fmla="*/ 11811 w 193596"/>
              <a:gd name="connsiteY6" fmla="*/ 43891 h 55016"/>
              <a:gd name="connsiteX7" fmla="*/ 20193 w 193596"/>
              <a:gd name="connsiteY7" fmla="*/ 43891 h 55016"/>
              <a:gd name="connsiteX8" fmla="*/ 35204 w 193596"/>
              <a:gd name="connsiteY8" fmla="*/ 27356 h 55016"/>
              <a:gd name="connsiteX9" fmla="*/ 20269 w 193596"/>
              <a:gd name="connsiteY9" fmla="*/ 11125 h 55016"/>
              <a:gd name="connsiteX10" fmla="*/ 98152 w 193596"/>
              <a:gd name="connsiteY10" fmla="*/ 838 h 55016"/>
              <a:gd name="connsiteX11" fmla="*/ 119564 w 193596"/>
              <a:gd name="connsiteY11" fmla="*/ 838 h 55016"/>
              <a:gd name="connsiteX12" fmla="*/ 145396 w 193596"/>
              <a:gd name="connsiteY12" fmla="*/ 27356 h 55016"/>
              <a:gd name="connsiteX13" fmla="*/ 119564 w 193596"/>
              <a:gd name="connsiteY13" fmla="*/ 54178 h 55016"/>
              <a:gd name="connsiteX14" fmla="*/ 98152 w 193596"/>
              <a:gd name="connsiteY14" fmla="*/ 54178 h 55016"/>
              <a:gd name="connsiteX15" fmla="*/ 55438 w 193596"/>
              <a:gd name="connsiteY15" fmla="*/ 838 h 55016"/>
              <a:gd name="connsiteX16" fmla="*/ 89728 w 193596"/>
              <a:gd name="connsiteY16" fmla="*/ 838 h 55016"/>
              <a:gd name="connsiteX17" fmla="*/ 89728 w 193596"/>
              <a:gd name="connsiteY17" fmla="*/ 11049 h 55016"/>
              <a:gd name="connsiteX18" fmla="*/ 67249 w 193596"/>
              <a:gd name="connsiteY18" fmla="*/ 11049 h 55016"/>
              <a:gd name="connsiteX19" fmla="*/ 67249 w 193596"/>
              <a:gd name="connsiteY19" fmla="*/ 23774 h 55016"/>
              <a:gd name="connsiteX20" fmla="*/ 89042 w 193596"/>
              <a:gd name="connsiteY20" fmla="*/ 23774 h 55016"/>
              <a:gd name="connsiteX21" fmla="*/ 89042 w 193596"/>
              <a:gd name="connsiteY21" fmla="*/ 33909 h 55016"/>
              <a:gd name="connsiteX22" fmla="*/ 67249 w 193596"/>
              <a:gd name="connsiteY22" fmla="*/ 33909 h 55016"/>
              <a:gd name="connsiteX23" fmla="*/ 67249 w 193596"/>
              <a:gd name="connsiteY23" fmla="*/ 54178 h 55016"/>
              <a:gd name="connsiteX24" fmla="*/ 55438 w 193596"/>
              <a:gd name="connsiteY24" fmla="*/ 54178 h 55016"/>
              <a:gd name="connsiteX25" fmla="*/ 0 w 193596"/>
              <a:gd name="connsiteY25" fmla="*/ 838 h 55016"/>
              <a:gd name="connsiteX26" fmla="*/ 21412 w 193596"/>
              <a:gd name="connsiteY26" fmla="*/ 838 h 55016"/>
              <a:gd name="connsiteX27" fmla="*/ 47244 w 193596"/>
              <a:gd name="connsiteY27" fmla="*/ 27356 h 55016"/>
              <a:gd name="connsiteX28" fmla="*/ 21412 w 193596"/>
              <a:gd name="connsiteY28" fmla="*/ 54178 h 55016"/>
              <a:gd name="connsiteX29" fmla="*/ 0 w 193596"/>
              <a:gd name="connsiteY29" fmla="*/ 54178 h 55016"/>
              <a:gd name="connsiteX30" fmla="*/ 172031 w 193596"/>
              <a:gd name="connsiteY30" fmla="*/ 0 h 55016"/>
              <a:gd name="connsiteX31" fmla="*/ 192605 w 193596"/>
              <a:gd name="connsiteY31" fmla="*/ 16459 h 55016"/>
              <a:gd name="connsiteX32" fmla="*/ 180642 w 193596"/>
              <a:gd name="connsiteY32" fmla="*/ 16459 h 55016"/>
              <a:gd name="connsiteX33" fmla="*/ 172031 w 193596"/>
              <a:gd name="connsiteY33" fmla="*/ 9982 h 55016"/>
              <a:gd name="connsiteX34" fmla="*/ 163725 w 193596"/>
              <a:gd name="connsiteY34" fmla="*/ 15545 h 55016"/>
              <a:gd name="connsiteX35" fmla="*/ 170202 w 193596"/>
              <a:gd name="connsiteY35" fmla="*/ 20803 h 55016"/>
              <a:gd name="connsiteX36" fmla="*/ 178127 w 193596"/>
              <a:gd name="connsiteY36" fmla="*/ 22327 h 55016"/>
              <a:gd name="connsiteX37" fmla="*/ 193596 w 193596"/>
              <a:gd name="connsiteY37" fmla="*/ 38176 h 55016"/>
              <a:gd name="connsiteX38" fmla="*/ 172793 w 193596"/>
              <a:gd name="connsiteY38" fmla="*/ 55016 h 55016"/>
              <a:gd name="connsiteX39" fmla="*/ 151000 w 193596"/>
              <a:gd name="connsiteY39" fmla="*/ 37871 h 55016"/>
              <a:gd name="connsiteX40" fmla="*/ 162963 w 193596"/>
              <a:gd name="connsiteY40" fmla="*/ 37871 h 55016"/>
              <a:gd name="connsiteX41" fmla="*/ 172717 w 193596"/>
              <a:gd name="connsiteY41" fmla="*/ 45034 h 55016"/>
              <a:gd name="connsiteX42" fmla="*/ 181632 w 193596"/>
              <a:gd name="connsiteY42" fmla="*/ 38862 h 55016"/>
              <a:gd name="connsiteX43" fmla="*/ 174774 w 193596"/>
              <a:gd name="connsiteY43" fmla="*/ 32918 h 55016"/>
              <a:gd name="connsiteX44" fmla="*/ 167078 w 193596"/>
              <a:gd name="connsiteY44" fmla="*/ 31471 h 55016"/>
              <a:gd name="connsiteX45" fmla="*/ 151686 w 193596"/>
              <a:gd name="connsiteY45" fmla="*/ 16078 h 55016"/>
              <a:gd name="connsiteX46" fmla="*/ 172031 w 193596"/>
              <a:gd name="connsiteY46" fmla="*/ 0 h 55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3596" h="55016">
                <a:moveTo>
                  <a:pt x="109963" y="11125"/>
                </a:moveTo>
                <a:lnTo>
                  <a:pt x="109963" y="43891"/>
                </a:lnTo>
                <a:lnTo>
                  <a:pt x="118345" y="43891"/>
                </a:lnTo>
                <a:cubicBezTo>
                  <a:pt x="126498" y="43891"/>
                  <a:pt x="133356" y="38786"/>
                  <a:pt x="133356" y="27356"/>
                </a:cubicBezTo>
                <a:cubicBezTo>
                  <a:pt x="133356" y="16611"/>
                  <a:pt x="127032" y="11125"/>
                  <a:pt x="118421" y="11125"/>
                </a:cubicBezTo>
                <a:close/>
                <a:moveTo>
                  <a:pt x="11811" y="11125"/>
                </a:moveTo>
                <a:lnTo>
                  <a:pt x="11811" y="43891"/>
                </a:lnTo>
                <a:lnTo>
                  <a:pt x="20193" y="43891"/>
                </a:lnTo>
                <a:cubicBezTo>
                  <a:pt x="28346" y="43891"/>
                  <a:pt x="35204" y="38786"/>
                  <a:pt x="35204" y="27356"/>
                </a:cubicBezTo>
                <a:cubicBezTo>
                  <a:pt x="35204" y="16611"/>
                  <a:pt x="28880" y="11125"/>
                  <a:pt x="20269" y="11125"/>
                </a:cubicBezTo>
                <a:close/>
                <a:moveTo>
                  <a:pt x="98152" y="838"/>
                </a:moveTo>
                <a:lnTo>
                  <a:pt x="119564" y="838"/>
                </a:lnTo>
                <a:cubicBezTo>
                  <a:pt x="135338" y="838"/>
                  <a:pt x="145396" y="11582"/>
                  <a:pt x="145396" y="27356"/>
                </a:cubicBezTo>
                <a:cubicBezTo>
                  <a:pt x="145396" y="43434"/>
                  <a:pt x="135338" y="54178"/>
                  <a:pt x="119564" y="54178"/>
                </a:cubicBezTo>
                <a:lnTo>
                  <a:pt x="98152" y="54178"/>
                </a:lnTo>
                <a:close/>
                <a:moveTo>
                  <a:pt x="55438" y="838"/>
                </a:moveTo>
                <a:lnTo>
                  <a:pt x="89728" y="838"/>
                </a:lnTo>
                <a:lnTo>
                  <a:pt x="89728" y="11049"/>
                </a:lnTo>
                <a:lnTo>
                  <a:pt x="67249" y="11049"/>
                </a:lnTo>
                <a:lnTo>
                  <a:pt x="67249" y="23774"/>
                </a:lnTo>
                <a:lnTo>
                  <a:pt x="89042" y="23774"/>
                </a:lnTo>
                <a:lnTo>
                  <a:pt x="89042" y="33909"/>
                </a:lnTo>
                <a:lnTo>
                  <a:pt x="67249" y="33909"/>
                </a:lnTo>
                <a:lnTo>
                  <a:pt x="67249" y="54178"/>
                </a:lnTo>
                <a:lnTo>
                  <a:pt x="55438" y="54178"/>
                </a:lnTo>
                <a:close/>
                <a:moveTo>
                  <a:pt x="0" y="838"/>
                </a:moveTo>
                <a:lnTo>
                  <a:pt x="21412" y="838"/>
                </a:lnTo>
                <a:cubicBezTo>
                  <a:pt x="37186" y="838"/>
                  <a:pt x="47244" y="11582"/>
                  <a:pt x="47244" y="27356"/>
                </a:cubicBezTo>
                <a:cubicBezTo>
                  <a:pt x="47244" y="43434"/>
                  <a:pt x="37186" y="54178"/>
                  <a:pt x="21412" y="54178"/>
                </a:cubicBezTo>
                <a:lnTo>
                  <a:pt x="0" y="54178"/>
                </a:lnTo>
                <a:close/>
                <a:moveTo>
                  <a:pt x="172031" y="0"/>
                </a:moveTo>
                <a:cubicBezTo>
                  <a:pt x="183614" y="0"/>
                  <a:pt x="191538" y="6629"/>
                  <a:pt x="192605" y="16459"/>
                </a:cubicBezTo>
                <a:lnTo>
                  <a:pt x="180642" y="16459"/>
                </a:lnTo>
                <a:cubicBezTo>
                  <a:pt x="179727" y="12421"/>
                  <a:pt x="177213" y="9982"/>
                  <a:pt x="172031" y="9982"/>
                </a:cubicBezTo>
                <a:cubicBezTo>
                  <a:pt x="167764" y="9982"/>
                  <a:pt x="163725" y="11659"/>
                  <a:pt x="163725" y="15545"/>
                </a:cubicBezTo>
                <a:cubicBezTo>
                  <a:pt x="163725" y="18517"/>
                  <a:pt x="166164" y="19964"/>
                  <a:pt x="170202" y="20803"/>
                </a:cubicBezTo>
                <a:lnTo>
                  <a:pt x="178127" y="22327"/>
                </a:lnTo>
                <a:cubicBezTo>
                  <a:pt x="187805" y="24155"/>
                  <a:pt x="193596" y="29489"/>
                  <a:pt x="193596" y="38176"/>
                </a:cubicBezTo>
                <a:cubicBezTo>
                  <a:pt x="193596" y="49454"/>
                  <a:pt x="183842" y="55016"/>
                  <a:pt x="172793" y="55016"/>
                </a:cubicBezTo>
                <a:cubicBezTo>
                  <a:pt x="159839" y="55016"/>
                  <a:pt x="152219" y="47701"/>
                  <a:pt x="151000" y="37871"/>
                </a:cubicBezTo>
                <a:lnTo>
                  <a:pt x="162963" y="37871"/>
                </a:lnTo>
                <a:cubicBezTo>
                  <a:pt x="163649" y="42367"/>
                  <a:pt x="167383" y="45034"/>
                  <a:pt x="172717" y="45034"/>
                </a:cubicBezTo>
                <a:cubicBezTo>
                  <a:pt x="177365" y="45034"/>
                  <a:pt x="181632" y="43053"/>
                  <a:pt x="181632" y="38862"/>
                </a:cubicBezTo>
                <a:cubicBezTo>
                  <a:pt x="181632" y="35738"/>
                  <a:pt x="179194" y="33757"/>
                  <a:pt x="174774" y="32918"/>
                </a:cubicBezTo>
                <a:lnTo>
                  <a:pt x="167078" y="31471"/>
                </a:lnTo>
                <a:cubicBezTo>
                  <a:pt x="158010" y="29947"/>
                  <a:pt x="151686" y="24841"/>
                  <a:pt x="151686" y="16078"/>
                </a:cubicBezTo>
                <a:cubicBezTo>
                  <a:pt x="151686" y="5105"/>
                  <a:pt x="161820" y="0"/>
                  <a:pt x="172031" y="0"/>
                </a:cubicBezTo>
                <a:close/>
              </a:path>
            </a:pathLst>
          </a:custGeom>
          <a:solidFill>
            <a:srgbClr val="002B45"/>
          </a:solidFill>
          <a:ln w="9525" cap="flat">
            <a:noFill/>
            <a:prstDash val="solid"/>
            <a:miter/>
          </a:ln>
        </p:spPr>
        <p:txBody>
          <a:bodyPr rtlCol="0" anchor="ctr"/>
          <a:lstStyle/>
          <a:p>
            <a:endParaRPr lang="en-GB"/>
          </a:p>
        </p:txBody>
      </p:sp>
    </p:spTree>
    <p:extLst>
      <p:ext uri="{BB962C8B-B14F-4D97-AF65-F5344CB8AC3E}">
        <p14:creationId xmlns:p14="http://schemas.microsoft.com/office/powerpoint/2010/main" val="284394888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10" name="Picture Placeholder 4">
            <a:extLst>
              <a:ext uri="{FF2B5EF4-FFF2-40B4-BE49-F238E27FC236}">
                <a16:creationId xmlns:a16="http://schemas.microsoft.com/office/drawing/2014/main" id="{0E50E6B9-C82A-358B-35D7-8EC209577982}"/>
              </a:ext>
            </a:extLst>
          </p:cNvPr>
          <p:cNvSpPr>
            <a:spLocks noGrp="1"/>
          </p:cNvSpPr>
          <p:nvPr>
            <p:ph type="pic" sz="quarter" idx="18" hasCustomPrompt="1"/>
          </p:nvPr>
        </p:nvSpPr>
        <p:spPr>
          <a:xfrm>
            <a:off x="0" y="0"/>
            <a:ext cx="12192000" cy="6858000"/>
          </a:xfrm>
          <a:custGeom>
            <a:avLst/>
            <a:gdLst>
              <a:gd name="connsiteX0" fmla="*/ 0 w 12195988"/>
              <a:gd name="connsiteY0" fmla="*/ 0 h 6858000"/>
              <a:gd name="connsiteX1" fmla="*/ 2788 w 12195988"/>
              <a:gd name="connsiteY1" fmla="*/ 0 h 6858000"/>
              <a:gd name="connsiteX2" fmla="*/ 12193200 w 12195988"/>
              <a:gd name="connsiteY2" fmla="*/ 0 h 6858000"/>
              <a:gd name="connsiteX3" fmla="*/ 12194788 w 12195988"/>
              <a:gd name="connsiteY3" fmla="*/ 0 h 6858000"/>
              <a:gd name="connsiteX4" fmla="*/ 12195988 w 12195988"/>
              <a:gd name="connsiteY4" fmla="*/ 0 h 6858000"/>
              <a:gd name="connsiteX5" fmla="*/ 12195988 w 12195988"/>
              <a:gd name="connsiteY5" fmla="*/ 6858000 h 6858000"/>
              <a:gd name="connsiteX6" fmla="*/ 12194788 w 12195988"/>
              <a:gd name="connsiteY6" fmla="*/ 6858000 h 6858000"/>
              <a:gd name="connsiteX7" fmla="*/ 12193200 w 12195988"/>
              <a:gd name="connsiteY7" fmla="*/ 6858000 h 6858000"/>
              <a:gd name="connsiteX8" fmla="*/ 2788 w 12195988"/>
              <a:gd name="connsiteY8" fmla="*/ 6858000 h 6858000"/>
              <a:gd name="connsiteX9" fmla="*/ 0 w 12195988"/>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5988" h="6858000">
                <a:moveTo>
                  <a:pt x="0" y="0"/>
                </a:moveTo>
                <a:lnTo>
                  <a:pt x="2788" y="0"/>
                </a:lnTo>
                <a:lnTo>
                  <a:pt x="12193200" y="0"/>
                </a:lnTo>
                <a:lnTo>
                  <a:pt x="12194788" y="0"/>
                </a:lnTo>
                <a:lnTo>
                  <a:pt x="12195988" y="0"/>
                </a:lnTo>
                <a:lnTo>
                  <a:pt x="12195988" y="6858000"/>
                </a:lnTo>
                <a:lnTo>
                  <a:pt x="12194788" y="6858000"/>
                </a:lnTo>
                <a:lnTo>
                  <a:pt x="12193200" y="6858000"/>
                </a:lnTo>
                <a:lnTo>
                  <a:pt x="2788" y="6858000"/>
                </a:lnTo>
                <a:lnTo>
                  <a:pt x="0" y="6858000"/>
                </a:lnTo>
                <a:close/>
              </a:path>
            </a:pathLst>
          </a:custGeom>
          <a:solidFill>
            <a:schemeClr val="bg1">
              <a:lumMod val="85000"/>
            </a:schemeClr>
          </a:solidFill>
        </p:spPr>
        <p:txBody>
          <a:bodyPr wrap="square" bIns="648000" anchor="ctr">
            <a:noAutofit/>
          </a:bodyPr>
          <a:lstStyle>
            <a:lvl1pPr marL="126000" indent="0" algn="ctr">
              <a:buNone/>
              <a:defRPr/>
            </a:lvl1pPr>
          </a:lstStyle>
          <a:p>
            <a:r>
              <a:rPr lang="en-GB"/>
              <a:t>Click on frame and insert dark picture using the Insert tab, Pictures</a:t>
            </a:r>
          </a:p>
        </p:txBody>
      </p:sp>
      <p:sp>
        <p:nvSpPr>
          <p:cNvPr id="9" name="Text Placeholder 8">
            <a:extLst>
              <a:ext uri="{FF2B5EF4-FFF2-40B4-BE49-F238E27FC236}">
                <a16:creationId xmlns:a16="http://schemas.microsoft.com/office/drawing/2014/main" id="{51FDCBF9-478A-C7EF-845A-9218DA0FE0F1}"/>
              </a:ext>
            </a:extLst>
          </p:cNvPr>
          <p:cNvSpPr>
            <a:spLocks noGrp="1"/>
          </p:cNvSpPr>
          <p:nvPr>
            <p:ph type="body" idx="13" hasCustomPrompt="1"/>
          </p:nvPr>
        </p:nvSpPr>
        <p:spPr>
          <a:xfrm>
            <a:off x="1" y="0"/>
            <a:ext cx="12191999" cy="6858000"/>
          </a:xfrm>
          <a:custGeom>
            <a:avLst/>
            <a:gdLst>
              <a:gd name="connsiteX0" fmla="*/ 0 w 12191999"/>
              <a:gd name="connsiteY0" fmla="*/ 0 h 6858000"/>
              <a:gd name="connsiteX1" fmla="*/ 12191999 w 12191999"/>
              <a:gd name="connsiteY1" fmla="*/ 0 h 6858000"/>
              <a:gd name="connsiteX2" fmla="*/ 12191999 w 12191999"/>
              <a:gd name="connsiteY2" fmla="*/ 6858000 h 6858000"/>
              <a:gd name="connsiteX3" fmla="*/ 0 w 12191999"/>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1999" h="6858000">
                <a:moveTo>
                  <a:pt x="0" y="0"/>
                </a:moveTo>
                <a:lnTo>
                  <a:pt x="12191999" y="0"/>
                </a:lnTo>
                <a:lnTo>
                  <a:pt x="12191999" y="6858000"/>
                </a:lnTo>
                <a:lnTo>
                  <a:pt x="0" y="6858000"/>
                </a:lnTo>
                <a:close/>
              </a:path>
            </a:pathLst>
          </a:custGeom>
          <a:gradFill>
            <a:gsLst>
              <a:gs pos="0">
                <a:schemeClr val="tx1">
                  <a:alpha val="20000"/>
                </a:schemeClr>
              </a:gs>
              <a:gs pos="63000">
                <a:schemeClr val="tx1">
                  <a:alpha val="0"/>
                </a:schemeClr>
              </a:gs>
            </a:gsLst>
            <a:lin ang="0" scaled="0"/>
          </a:gradFill>
        </p:spPr>
        <p:txBody>
          <a:bodyPr wrap="square">
            <a:noAutofit/>
          </a:bodyPr>
          <a:lstStyle>
            <a:lvl1pPr marL="126000" indent="0">
              <a:buFontTx/>
              <a:buNone/>
              <a:defRPr sz="100">
                <a:noFill/>
              </a:defRPr>
            </a:lvl1pPr>
          </a:lstStyle>
          <a:p>
            <a:pPr lvl="0"/>
            <a:r>
              <a:rPr lang="en-GB"/>
              <a:t>Set text to 'No Fill'</a:t>
            </a:r>
          </a:p>
        </p:txBody>
      </p:sp>
      <p:sp>
        <p:nvSpPr>
          <p:cNvPr id="22" name="Text Placeholder 21">
            <a:extLst>
              <a:ext uri="{FF2B5EF4-FFF2-40B4-BE49-F238E27FC236}">
                <a16:creationId xmlns:a16="http://schemas.microsoft.com/office/drawing/2014/main" id="{E4EAF2B9-0019-2091-9202-8FB0DBCE1181}"/>
              </a:ext>
            </a:extLst>
          </p:cNvPr>
          <p:cNvSpPr>
            <a:spLocks noGrp="1"/>
          </p:cNvSpPr>
          <p:nvPr>
            <p:ph type="body" sz="quarter" idx="19" hasCustomPrompt="1"/>
          </p:nvPr>
        </p:nvSpPr>
        <p:spPr bwMode="white">
          <a:xfrm>
            <a:off x="10929943" y="6253136"/>
            <a:ext cx="991080" cy="333436"/>
          </a:xfrm>
          <a:custGeom>
            <a:avLst/>
            <a:gdLst>
              <a:gd name="connsiteX0" fmla="*/ 777113 w 991080"/>
              <a:gd name="connsiteY0" fmla="*/ 120969 h 333436"/>
              <a:gd name="connsiteX1" fmla="*/ 777113 w 991080"/>
              <a:gd name="connsiteY1" fmla="*/ 212441 h 333436"/>
              <a:gd name="connsiteX2" fmla="*/ 814693 w 991080"/>
              <a:gd name="connsiteY2" fmla="*/ 212441 h 333436"/>
              <a:gd name="connsiteX3" fmla="*/ 829575 w 991080"/>
              <a:gd name="connsiteY3" fmla="*/ 197054 h 333436"/>
              <a:gd name="connsiteX4" fmla="*/ 829575 w 991080"/>
              <a:gd name="connsiteY4" fmla="*/ 136370 h 333436"/>
              <a:gd name="connsiteX5" fmla="*/ 814693 w 991080"/>
              <a:gd name="connsiteY5" fmla="*/ 120969 h 333436"/>
              <a:gd name="connsiteX6" fmla="*/ 511966 w 991080"/>
              <a:gd name="connsiteY6" fmla="*/ 120969 h 333436"/>
              <a:gd name="connsiteX7" fmla="*/ 511966 w 991080"/>
              <a:gd name="connsiteY7" fmla="*/ 212441 h 333436"/>
              <a:gd name="connsiteX8" fmla="*/ 549546 w 991080"/>
              <a:gd name="connsiteY8" fmla="*/ 212441 h 333436"/>
              <a:gd name="connsiteX9" fmla="*/ 564426 w 991080"/>
              <a:gd name="connsiteY9" fmla="*/ 197054 h 333436"/>
              <a:gd name="connsiteX10" fmla="*/ 564426 w 991080"/>
              <a:gd name="connsiteY10" fmla="*/ 136370 h 333436"/>
              <a:gd name="connsiteX11" fmla="*/ 549546 w 991080"/>
              <a:gd name="connsiteY11" fmla="*/ 120969 h 333436"/>
              <a:gd name="connsiteX12" fmla="*/ 191228 w 991080"/>
              <a:gd name="connsiteY12" fmla="*/ 89978 h 333436"/>
              <a:gd name="connsiteX13" fmla="*/ 190277 w 991080"/>
              <a:gd name="connsiteY13" fmla="*/ 90227 h 333436"/>
              <a:gd name="connsiteX14" fmla="*/ 189581 w 991080"/>
              <a:gd name="connsiteY14" fmla="*/ 90906 h 333436"/>
              <a:gd name="connsiteX15" fmla="*/ 189323 w 991080"/>
              <a:gd name="connsiteY15" fmla="*/ 91832 h 333436"/>
              <a:gd name="connsiteX16" fmla="*/ 189575 w 991080"/>
              <a:gd name="connsiteY16" fmla="*/ 92760 h 333436"/>
              <a:gd name="connsiteX17" fmla="*/ 225952 w 991080"/>
              <a:gd name="connsiteY17" fmla="*/ 154132 h 333436"/>
              <a:gd name="connsiteX18" fmla="*/ 162923 w 991080"/>
              <a:gd name="connsiteY18" fmla="*/ 118717 h 333436"/>
              <a:gd name="connsiteX19" fmla="*/ 161970 w 991080"/>
              <a:gd name="connsiteY19" fmla="*/ 118472 h 333436"/>
              <a:gd name="connsiteX20" fmla="*/ 161020 w 991080"/>
              <a:gd name="connsiteY20" fmla="*/ 118722 h 333436"/>
              <a:gd name="connsiteX21" fmla="*/ 160324 w 991080"/>
              <a:gd name="connsiteY21" fmla="*/ 119401 h 333436"/>
              <a:gd name="connsiteX22" fmla="*/ 160067 w 991080"/>
              <a:gd name="connsiteY22" fmla="*/ 120328 h 333436"/>
              <a:gd name="connsiteX23" fmla="*/ 160067 w 991080"/>
              <a:gd name="connsiteY23" fmla="*/ 213103 h 333436"/>
              <a:gd name="connsiteX24" fmla="*/ 160324 w 991080"/>
              <a:gd name="connsiteY24" fmla="*/ 214030 h 333436"/>
              <a:gd name="connsiteX25" fmla="*/ 161020 w 991080"/>
              <a:gd name="connsiteY25" fmla="*/ 214708 h 333436"/>
              <a:gd name="connsiteX26" fmla="*/ 161970 w 991080"/>
              <a:gd name="connsiteY26" fmla="*/ 214959 h 333436"/>
              <a:gd name="connsiteX27" fmla="*/ 162923 w 991080"/>
              <a:gd name="connsiteY27" fmla="*/ 214714 h 333436"/>
              <a:gd name="connsiteX28" fmla="*/ 225952 w 991080"/>
              <a:gd name="connsiteY28" fmla="*/ 179299 h 333436"/>
              <a:gd name="connsiteX29" fmla="*/ 189635 w 991080"/>
              <a:gd name="connsiteY29" fmla="*/ 240670 h 333436"/>
              <a:gd name="connsiteX30" fmla="*/ 189383 w 991080"/>
              <a:gd name="connsiteY30" fmla="*/ 241598 h 333436"/>
              <a:gd name="connsiteX31" fmla="*/ 189641 w 991080"/>
              <a:gd name="connsiteY31" fmla="*/ 242525 h 333436"/>
              <a:gd name="connsiteX32" fmla="*/ 190337 w 991080"/>
              <a:gd name="connsiteY32" fmla="*/ 243203 h 333436"/>
              <a:gd name="connsiteX33" fmla="*/ 191288 w 991080"/>
              <a:gd name="connsiteY33" fmla="*/ 243453 h 333436"/>
              <a:gd name="connsiteX34" fmla="*/ 286486 w 991080"/>
              <a:gd name="connsiteY34" fmla="*/ 243453 h 333436"/>
              <a:gd name="connsiteX35" fmla="*/ 287437 w 991080"/>
              <a:gd name="connsiteY35" fmla="*/ 243203 h 333436"/>
              <a:gd name="connsiteX36" fmla="*/ 288134 w 991080"/>
              <a:gd name="connsiteY36" fmla="*/ 242525 h 333436"/>
              <a:gd name="connsiteX37" fmla="*/ 288391 w 991080"/>
              <a:gd name="connsiteY37" fmla="*/ 241598 h 333436"/>
              <a:gd name="connsiteX38" fmla="*/ 288139 w 991080"/>
              <a:gd name="connsiteY38" fmla="*/ 240670 h 333436"/>
              <a:gd name="connsiteX39" fmla="*/ 251777 w 991080"/>
              <a:gd name="connsiteY39" fmla="*/ 179299 h 333436"/>
              <a:gd name="connsiteX40" fmla="*/ 314790 w 991080"/>
              <a:gd name="connsiteY40" fmla="*/ 214714 h 333436"/>
              <a:gd name="connsiteX41" fmla="*/ 315745 w 991080"/>
              <a:gd name="connsiteY41" fmla="*/ 214969 h 333436"/>
              <a:gd name="connsiteX42" fmla="*/ 316702 w 991080"/>
              <a:gd name="connsiteY42" fmla="*/ 214721 h 333436"/>
              <a:gd name="connsiteX43" fmla="*/ 317399 w 991080"/>
              <a:gd name="connsiteY43" fmla="*/ 214037 h 333436"/>
              <a:gd name="connsiteX44" fmla="*/ 317647 w 991080"/>
              <a:gd name="connsiteY44" fmla="*/ 213103 h 333436"/>
              <a:gd name="connsiteX45" fmla="*/ 317647 w 991080"/>
              <a:gd name="connsiteY45" fmla="*/ 120328 h 333436"/>
              <a:gd name="connsiteX46" fmla="*/ 317399 w 991080"/>
              <a:gd name="connsiteY46" fmla="*/ 119393 h 333436"/>
              <a:gd name="connsiteX47" fmla="*/ 316702 w 991080"/>
              <a:gd name="connsiteY47" fmla="*/ 118709 h 333436"/>
              <a:gd name="connsiteX48" fmla="*/ 315745 w 991080"/>
              <a:gd name="connsiteY48" fmla="*/ 118461 h 333436"/>
              <a:gd name="connsiteX49" fmla="*/ 314790 w 991080"/>
              <a:gd name="connsiteY49" fmla="*/ 118717 h 333436"/>
              <a:gd name="connsiteX50" fmla="*/ 251777 w 991080"/>
              <a:gd name="connsiteY50" fmla="*/ 154132 h 333436"/>
              <a:gd name="connsiteX51" fmla="*/ 288139 w 991080"/>
              <a:gd name="connsiteY51" fmla="*/ 92760 h 333436"/>
              <a:gd name="connsiteX52" fmla="*/ 288391 w 991080"/>
              <a:gd name="connsiteY52" fmla="*/ 91832 h 333436"/>
              <a:gd name="connsiteX53" fmla="*/ 288134 w 991080"/>
              <a:gd name="connsiteY53" fmla="*/ 90906 h 333436"/>
              <a:gd name="connsiteX54" fmla="*/ 287437 w 991080"/>
              <a:gd name="connsiteY54" fmla="*/ 90227 h 333436"/>
              <a:gd name="connsiteX55" fmla="*/ 286486 w 991080"/>
              <a:gd name="connsiteY55" fmla="*/ 89978 h 333436"/>
              <a:gd name="connsiteX56" fmla="*/ 746614 w 991080"/>
              <a:gd name="connsiteY56" fmla="*/ 89975 h 333436"/>
              <a:gd name="connsiteX57" fmla="*/ 819428 w 991080"/>
              <a:gd name="connsiteY57" fmla="*/ 89975 h 333436"/>
              <a:gd name="connsiteX58" fmla="*/ 863622 w 991080"/>
              <a:gd name="connsiteY58" fmla="*/ 130646 h 333436"/>
              <a:gd name="connsiteX59" fmla="*/ 863622 w 991080"/>
              <a:gd name="connsiteY59" fmla="*/ 202837 h 333436"/>
              <a:gd name="connsiteX60" fmla="*/ 819428 w 991080"/>
              <a:gd name="connsiteY60" fmla="*/ 243508 h 333436"/>
              <a:gd name="connsiteX61" fmla="*/ 746614 w 991080"/>
              <a:gd name="connsiteY61" fmla="*/ 243508 h 333436"/>
              <a:gd name="connsiteX62" fmla="*/ 743006 w 991080"/>
              <a:gd name="connsiteY62" fmla="*/ 239994 h 333436"/>
              <a:gd name="connsiteX63" fmla="*/ 743006 w 991080"/>
              <a:gd name="connsiteY63" fmla="*/ 93489 h 333436"/>
              <a:gd name="connsiteX64" fmla="*/ 746614 w 991080"/>
              <a:gd name="connsiteY64" fmla="*/ 89975 h 333436"/>
              <a:gd name="connsiteX65" fmla="*/ 624298 w 991080"/>
              <a:gd name="connsiteY65" fmla="*/ 89975 h 333436"/>
              <a:gd name="connsiteX66" fmla="*/ 721014 w 991080"/>
              <a:gd name="connsiteY66" fmla="*/ 89975 h 333436"/>
              <a:gd name="connsiteX67" fmla="*/ 724621 w 991080"/>
              <a:gd name="connsiteY67" fmla="*/ 93489 h 333436"/>
              <a:gd name="connsiteX68" fmla="*/ 724621 w 991080"/>
              <a:gd name="connsiteY68" fmla="*/ 117455 h 333436"/>
              <a:gd name="connsiteX69" fmla="*/ 721014 w 991080"/>
              <a:gd name="connsiteY69" fmla="*/ 120969 h 333436"/>
              <a:gd name="connsiteX70" fmla="*/ 654738 w 991080"/>
              <a:gd name="connsiteY70" fmla="*/ 120969 h 333436"/>
              <a:gd name="connsiteX71" fmla="*/ 654738 w 991080"/>
              <a:gd name="connsiteY71" fmla="*/ 154173 h 333436"/>
              <a:gd name="connsiteX72" fmla="*/ 712656 w 991080"/>
              <a:gd name="connsiteY72" fmla="*/ 154173 h 333436"/>
              <a:gd name="connsiteX73" fmla="*/ 716263 w 991080"/>
              <a:gd name="connsiteY73" fmla="*/ 157701 h 333436"/>
              <a:gd name="connsiteX74" fmla="*/ 716263 w 991080"/>
              <a:gd name="connsiteY74" fmla="*/ 181726 h 333436"/>
              <a:gd name="connsiteX75" fmla="*/ 712656 w 991080"/>
              <a:gd name="connsiteY75" fmla="*/ 185240 h 333436"/>
              <a:gd name="connsiteX76" fmla="*/ 654738 w 991080"/>
              <a:gd name="connsiteY76" fmla="*/ 185240 h 333436"/>
              <a:gd name="connsiteX77" fmla="*/ 654738 w 991080"/>
              <a:gd name="connsiteY77" fmla="*/ 239994 h 333436"/>
              <a:gd name="connsiteX78" fmla="*/ 651130 w 991080"/>
              <a:gd name="connsiteY78" fmla="*/ 243508 h 333436"/>
              <a:gd name="connsiteX79" fmla="*/ 624298 w 991080"/>
              <a:gd name="connsiteY79" fmla="*/ 243508 h 333436"/>
              <a:gd name="connsiteX80" fmla="*/ 620690 w 991080"/>
              <a:gd name="connsiteY80" fmla="*/ 239994 h 333436"/>
              <a:gd name="connsiteX81" fmla="*/ 620690 w 991080"/>
              <a:gd name="connsiteY81" fmla="*/ 93489 h 333436"/>
              <a:gd name="connsiteX82" fmla="*/ 624298 w 991080"/>
              <a:gd name="connsiteY82" fmla="*/ 89975 h 333436"/>
              <a:gd name="connsiteX83" fmla="*/ 481496 w 991080"/>
              <a:gd name="connsiteY83" fmla="*/ 89975 h 333436"/>
              <a:gd name="connsiteX84" fmla="*/ 554280 w 991080"/>
              <a:gd name="connsiteY84" fmla="*/ 89975 h 333436"/>
              <a:gd name="connsiteX85" fmla="*/ 598519 w 991080"/>
              <a:gd name="connsiteY85" fmla="*/ 130646 h 333436"/>
              <a:gd name="connsiteX86" fmla="*/ 598519 w 991080"/>
              <a:gd name="connsiteY86" fmla="*/ 202837 h 333436"/>
              <a:gd name="connsiteX87" fmla="*/ 554325 w 991080"/>
              <a:gd name="connsiteY87" fmla="*/ 243508 h 333436"/>
              <a:gd name="connsiteX88" fmla="*/ 481496 w 991080"/>
              <a:gd name="connsiteY88" fmla="*/ 243508 h 333436"/>
              <a:gd name="connsiteX89" fmla="*/ 477888 w 991080"/>
              <a:gd name="connsiteY89" fmla="*/ 239994 h 333436"/>
              <a:gd name="connsiteX90" fmla="*/ 477888 w 991080"/>
              <a:gd name="connsiteY90" fmla="*/ 93489 h 333436"/>
              <a:gd name="connsiteX91" fmla="*/ 481496 w 991080"/>
              <a:gd name="connsiteY91" fmla="*/ 89975 h 333436"/>
              <a:gd name="connsiteX92" fmla="*/ 925345 w 991080"/>
              <a:gd name="connsiteY92" fmla="*/ 88877 h 333436"/>
              <a:gd name="connsiteX93" fmla="*/ 978107 w 991080"/>
              <a:gd name="connsiteY93" fmla="*/ 89536 h 333436"/>
              <a:gd name="connsiteX94" fmla="*/ 981717 w 991080"/>
              <a:gd name="connsiteY94" fmla="*/ 93050 h 333436"/>
              <a:gd name="connsiteX95" fmla="*/ 981717 w 991080"/>
              <a:gd name="connsiteY95" fmla="*/ 117016 h 333436"/>
              <a:gd name="connsiteX96" fmla="*/ 978107 w 991080"/>
              <a:gd name="connsiteY96" fmla="*/ 120529 h 333436"/>
              <a:gd name="connsiteX97" fmla="*/ 930005 w 991080"/>
              <a:gd name="connsiteY97" fmla="*/ 119870 h 333436"/>
              <a:gd name="connsiteX98" fmla="*/ 915123 w 991080"/>
              <a:gd name="connsiteY98" fmla="*/ 130866 h 333436"/>
              <a:gd name="connsiteX99" fmla="*/ 915123 w 991080"/>
              <a:gd name="connsiteY99" fmla="*/ 133955 h 333436"/>
              <a:gd name="connsiteX100" fmla="*/ 925044 w 991080"/>
              <a:gd name="connsiteY100" fmla="*/ 146048 h 333436"/>
              <a:gd name="connsiteX101" fmla="*/ 959990 w 991080"/>
              <a:gd name="connsiteY101" fmla="*/ 157263 h 333436"/>
              <a:gd name="connsiteX102" fmla="*/ 991080 w 991080"/>
              <a:gd name="connsiteY102" fmla="*/ 194229 h 333436"/>
              <a:gd name="connsiteX103" fmla="*/ 991080 w 991080"/>
              <a:gd name="connsiteY103" fmla="*/ 206322 h 333436"/>
              <a:gd name="connsiteX104" fmla="*/ 946990 w 991080"/>
              <a:gd name="connsiteY104" fmla="*/ 244635 h 333436"/>
              <a:gd name="connsiteX105" fmla="*/ 885991 w 991080"/>
              <a:gd name="connsiteY105" fmla="*/ 243977 h 333436"/>
              <a:gd name="connsiteX106" fmla="*/ 882383 w 991080"/>
              <a:gd name="connsiteY106" fmla="*/ 240463 h 333436"/>
              <a:gd name="connsiteX107" fmla="*/ 882383 w 991080"/>
              <a:gd name="connsiteY107" fmla="*/ 216497 h 333436"/>
              <a:gd name="connsiteX108" fmla="*/ 885991 w 991080"/>
              <a:gd name="connsiteY108" fmla="*/ 212969 h 333436"/>
              <a:gd name="connsiteX109" fmla="*/ 942256 w 991080"/>
              <a:gd name="connsiteY109" fmla="*/ 213642 h 333436"/>
              <a:gd name="connsiteX110" fmla="*/ 956914 w 991080"/>
              <a:gd name="connsiteY110" fmla="*/ 201930 h 333436"/>
              <a:gd name="connsiteX111" fmla="*/ 956914 w 991080"/>
              <a:gd name="connsiteY111" fmla="*/ 198372 h 333436"/>
              <a:gd name="connsiteX112" fmla="*/ 946990 w 991080"/>
              <a:gd name="connsiteY112" fmla="*/ 185620 h 333436"/>
              <a:gd name="connsiteX113" fmla="*/ 912267 w 991080"/>
              <a:gd name="connsiteY113" fmla="*/ 174626 h 333436"/>
              <a:gd name="connsiteX114" fmla="*/ 881166 w 991080"/>
              <a:gd name="connsiteY114" fmla="*/ 137908 h 333436"/>
              <a:gd name="connsiteX115" fmla="*/ 881166 w 991080"/>
              <a:gd name="connsiteY115" fmla="*/ 126034 h 333436"/>
              <a:gd name="connsiteX116" fmla="*/ 925345 w 991080"/>
              <a:gd name="connsiteY116" fmla="*/ 88877 h 333436"/>
              <a:gd name="connsiteX117" fmla="*/ 199827 w 991080"/>
              <a:gd name="connsiteY117" fmla="*/ 28 h 333436"/>
              <a:gd name="connsiteX118" fmla="*/ 475181 w 991080"/>
              <a:gd name="connsiteY118" fmla="*/ 28 h 333436"/>
              <a:gd name="connsiteX119" fmla="*/ 476520 w 991080"/>
              <a:gd name="connsiteY119" fmla="*/ 207 h 333436"/>
              <a:gd name="connsiteX120" fmla="*/ 477528 w 991080"/>
              <a:gd name="connsiteY120" fmla="*/ 1084 h 333436"/>
              <a:gd name="connsiteX121" fmla="*/ 477861 w 991080"/>
              <a:gd name="connsiteY121" fmla="*/ 2360 h 333436"/>
              <a:gd name="connsiteX122" fmla="*/ 477406 w 991080"/>
              <a:gd name="connsiteY122" fmla="*/ 3600 h 333436"/>
              <a:gd name="connsiteX123" fmla="*/ 283885 w 991080"/>
              <a:gd name="connsiteY123" fmla="*/ 330080 h 333436"/>
              <a:gd name="connsiteX124" fmla="*/ 281459 w 991080"/>
              <a:gd name="connsiteY124" fmla="*/ 332601 h 333436"/>
              <a:gd name="connsiteX125" fmla="*/ 278008 w 991080"/>
              <a:gd name="connsiteY125" fmla="*/ 333403 h 333436"/>
              <a:gd name="connsiteX126" fmla="*/ 2713 w 991080"/>
              <a:gd name="connsiteY126" fmla="*/ 333403 h 333436"/>
              <a:gd name="connsiteX127" fmla="*/ 1359 w 991080"/>
              <a:gd name="connsiteY127" fmla="*/ 333235 h 333436"/>
              <a:gd name="connsiteX128" fmla="*/ 337 w 991080"/>
              <a:gd name="connsiteY128" fmla="*/ 332353 h 333436"/>
              <a:gd name="connsiteX129" fmla="*/ 3 w 991080"/>
              <a:gd name="connsiteY129" fmla="*/ 331064 h 333436"/>
              <a:gd name="connsiteX130" fmla="*/ 473 w 991080"/>
              <a:gd name="connsiteY130" fmla="*/ 329816 h 333436"/>
              <a:gd name="connsiteX131" fmla="*/ 193949 w 991080"/>
              <a:gd name="connsiteY131" fmla="*/ 3351 h 333436"/>
              <a:gd name="connsiteX132" fmla="*/ 196375 w 991080"/>
              <a:gd name="connsiteY132" fmla="*/ 829 h 333436"/>
              <a:gd name="connsiteX133" fmla="*/ 199827 w 991080"/>
              <a:gd name="connsiteY133" fmla="*/ 28 h 333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Lst>
            <a:rect l="l" t="t" r="r" b="b"/>
            <a:pathLst>
              <a:path w="991080" h="333436">
                <a:moveTo>
                  <a:pt x="777113" y="120969"/>
                </a:moveTo>
                <a:lnTo>
                  <a:pt x="777113" y="212441"/>
                </a:lnTo>
                <a:lnTo>
                  <a:pt x="814693" y="212441"/>
                </a:lnTo>
                <a:cubicBezTo>
                  <a:pt x="825291" y="212441"/>
                  <a:pt x="829575" y="208049"/>
                  <a:pt x="829575" y="197054"/>
                </a:cubicBezTo>
                <a:lnTo>
                  <a:pt x="829575" y="136370"/>
                </a:lnTo>
                <a:cubicBezTo>
                  <a:pt x="829575" y="125361"/>
                  <a:pt x="825291" y="120969"/>
                  <a:pt x="814693" y="120969"/>
                </a:cubicBezTo>
                <a:close/>
                <a:moveTo>
                  <a:pt x="511966" y="120969"/>
                </a:moveTo>
                <a:lnTo>
                  <a:pt x="511966" y="212441"/>
                </a:lnTo>
                <a:lnTo>
                  <a:pt x="549546" y="212441"/>
                </a:lnTo>
                <a:cubicBezTo>
                  <a:pt x="560143" y="212441"/>
                  <a:pt x="564426" y="208049"/>
                  <a:pt x="564426" y="197054"/>
                </a:cubicBezTo>
                <a:lnTo>
                  <a:pt x="564426" y="136370"/>
                </a:lnTo>
                <a:cubicBezTo>
                  <a:pt x="564426" y="125361"/>
                  <a:pt x="560143" y="120969"/>
                  <a:pt x="549546" y="120969"/>
                </a:cubicBezTo>
                <a:close/>
                <a:moveTo>
                  <a:pt x="191228" y="89978"/>
                </a:moveTo>
                <a:cubicBezTo>
                  <a:pt x="190894" y="89979"/>
                  <a:pt x="190566" y="90065"/>
                  <a:pt x="190277" y="90227"/>
                </a:cubicBezTo>
                <a:cubicBezTo>
                  <a:pt x="189988" y="90390"/>
                  <a:pt x="189747" y="90624"/>
                  <a:pt x="189581" y="90906"/>
                </a:cubicBezTo>
                <a:cubicBezTo>
                  <a:pt x="189413" y="91187"/>
                  <a:pt x="189324" y="91507"/>
                  <a:pt x="189323" y="91832"/>
                </a:cubicBezTo>
                <a:cubicBezTo>
                  <a:pt x="189322" y="92157"/>
                  <a:pt x="189409" y="92477"/>
                  <a:pt x="189575" y="92760"/>
                </a:cubicBezTo>
                <a:lnTo>
                  <a:pt x="225952" y="154132"/>
                </a:lnTo>
                <a:lnTo>
                  <a:pt x="162923" y="118717"/>
                </a:lnTo>
                <a:cubicBezTo>
                  <a:pt x="162633" y="118555"/>
                  <a:pt x="162305" y="118471"/>
                  <a:pt x="161970" y="118472"/>
                </a:cubicBezTo>
                <a:cubicBezTo>
                  <a:pt x="161637" y="118473"/>
                  <a:pt x="161308" y="118559"/>
                  <a:pt x="161020" y="118722"/>
                </a:cubicBezTo>
                <a:cubicBezTo>
                  <a:pt x="160730" y="118886"/>
                  <a:pt x="160490" y="119119"/>
                  <a:pt x="160324" y="119401"/>
                </a:cubicBezTo>
                <a:cubicBezTo>
                  <a:pt x="160156" y="119683"/>
                  <a:pt x="160067" y="120002"/>
                  <a:pt x="160067" y="120328"/>
                </a:cubicBezTo>
                <a:lnTo>
                  <a:pt x="160067" y="213103"/>
                </a:lnTo>
                <a:cubicBezTo>
                  <a:pt x="160067" y="213429"/>
                  <a:pt x="160156" y="213748"/>
                  <a:pt x="160324" y="214030"/>
                </a:cubicBezTo>
                <a:cubicBezTo>
                  <a:pt x="160490" y="214311"/>
                  <a:pt x="160730" y="214545"/>
                  <a:pt x="161020" y="214708"/>
                </a:cubicBezTo>
                <a:cubicBezTo>
                  <a:pt x="161308" y="214871"/>
                  <a:pt x="161637" y="214958"/>
                  <a:pt x="161970" y="214959"/>
                </a:cubicBezTo>
                <a:cubicBezTo>
                  <a:pt x="162305" y="214959"/>
                  <a:pt x="162633" y="214875"/>
                  <a:pt x="162923" y="214714"/>
                </a:cubicBezTo>
                <a:lnTo>
                  <a:pt x="225952" y="179299"/>
                </a:lnTo>
                <a:lnTo>
                  <a:pt x="189635" y="240670"/>
                </a:lnTo>
                <a:cubicBezTo>
                  <a:pt x="189469" y="240953"/>
                  <a:pt x="189382" y="241273"/>
                  <a:pt x="189383" y="241598"/>
                </a:cubicBezTo>
                <a:cubicBezTo>
                  <a:pt x="189384" y="241924"/>
                  <a:pt x="189473" y="242243"/>
                  <a:pt x="189641" y="242525"/>
                </a:cubicBezTo>
                <a:cubicBezTo>
                  <a:pt x="189807" y="242806"/>
                  <a:pt x="190048" y="243040"/>
                  <a:pt x="190337" y="243203"/>
                </a:cubicBezTo>
                <a:cubicBezTo>
                  <a:pt x="190626" y="243366"/>
                  <a:pt x="190954" y="243452"/>
                  <a:pt x="191288" y="243453"/>
                </a:cubicBezTo>
                <a:lnTo>
                  <a:pt x="286486" y="243453"/>
                </a:lnTo>
                <a:cubicBezTo>
                  <a:pt x="286819" y="243452"/>
                  <a:pt x="287148" y="243366"/>
                  <a:pt x="287437" y="243203"/>
                </a:cubicBezTo>
                <a:cubicBezTo>
                  <a:pt x="287726" y="243040"/>
                  <a:pt x="287966" y="242806"/>
                  <a:pt x="288134" y="242525"/>
                </a:cubicBezTo>
                <a:cubicBezTo>
                  <a:pt x="288301" y="242243"/>
                  <a:pt x="288390" y="241924"/>
                  <a:pt x="288391" y="241598"/>
                </a:cubicBezTo>
                <a:cubicBezTo>
                  <a:pt x="288392" y="241273"/>
                  <a:pt x="288304" y="240953"/>
                  <a:pt x="288139" y="240670"/>
                </a:cubicBezTo>
                <a:lnTo>
                  <a:pt x="251777" y="179299"/>
                </a:lnTo>
                <a:lnTo>
                  <a:pt x="314790" y="214714"/>
                </a:lnTo>
                <a:cubicBezTo>
                  <a:pt x="315080" y="214879"/>
                  <a:pt x="315410" y="214968"/>
                  <a:pt x="315745" y="214969"/>
                </a:cubicBezTo>
                <a:cubicBezTo>
                  <a:pt x="316081" y="214971"/>
                  <a:pt x="316412" y="214885"/>
                  <a:pt x="316702" y="214721"/>
                </a:cubicBezTo>
                <a:cubicBezTo>
                  <a:pt x="316993" y="214558"/>
                  <a:pt x="317233" y="214321"/>
                  <a:pt x="317399" y="214037"/>
                </a:cubicBezTo>
                <a:cubicBezTo>
                  <a:pt x="317565" y="213753"/>
                  <a:pt x="317651" y="213430"/>
                  <a:pt x="317647" y="213103"/>
                </a:cubicBezTo>
                <a:lnTo>
                  <a:pt x="317647" y="120328"/>
                </a:lnTo>
                <a:cubicBezTo>
                  <a:pt x="317651" y="120000"/>
                  <a:pt x="317565" y="119678"/>
                  <a:pt x="317399" y="119393"/>
                </a:cubicBezTo>
                <a:cubicBezTo>
                  <a:pt x="317233" y="119109"/>
                  <a:pt x="316993" y="118873"/>
                  <a:pt x="316702" y="118709"/>
                </a:cubicBezTo>
                <a:cubicBezTo>
                  <a:pt x="316412" y="118546"/>
                  <a:pt x="316081" y="118460"/>
                  <a:pt x="315745" y="118461"/>
                </a:cubicBezTo>
                <a:cubicBezTo>
                  <a:pt x="315410" y="118463"/>
                  <a:pt x="315080" y="118550"/>
                  <a:pt x="314790" y="118717"/>
                </a:cubicBezTo>
                <a:lnTo>
                  <a:pt x="251777" y="154132"/>
                </a:lnTo>
                <a:lnTo>
                  <a:pt x="288139" y="92760"/>
                </a:lnTo>
                <a:cubicBezTo>
                  <a:pt x="288304" y="92477"/>
                  <a:pt x="288392" y="92157"/>
                  <a:pt x="288391" y="91832"/>
                </a:cubicBezTo>
                <a:cubicBezTo>
                  <a:pt x="288390" y="91507"/>
                  <a:pt x="288301" y="91187"/>
                  <a:pt x="288134" y="90906"/>
                </a:cubicBezTo>
                <a:cubicBezTo>
                  <a:pt x="287966" y="90624"/>
                  <a:pt x="287726" y="90390"/>
                  <a:pt x="287437" y="90227"/>
                </a:cubicBezTo>
                <a:cubicBezTo>
                  <a:pt x="287148" y="90065"/>
                  <a:pt x="286819" y="89979"/>
                  <a:pt x="286486" y="89978"/>
                </a:cubicBezTo>
                <a:close/>
                <a:moveTo>
                  <a:pt x="746614" y="89975"/>
                </a:moveTo>
                <a:lnTo>
                  <a:pt x="819428" y="89975"/>
                </a:lnTo>
                <a:cubicBezTo>
                  <a:pt x="847388" y="89975"/>
                  <a:pt x="863622" y="105142"/>
                  <a:pt x="863622" y="130646"/>
                </a:cubicBezTo>
                <a:lnTo>
                  <a:pt x="863622" y="202837"/>
                </a:lnTo>
                <a:cubicBezTo>
                  <a:pt x="863622" y="228341"/>
                  <a:pt x="847388" y="243508"/>
                  <a:pt x="819428" y="243508"/>
                </a:cubicBezTo>
                <a:lnTo>
                  <a:pt x="746614" y="243508"/>
                </a:lnTo>
                <a:cubicBezTo>
                  <a:pt x="743908" y="243508"/>
                  <a:pt x="743006" y="242630"/>
                  <a:pt x="743006" y="239994"/>
                </a:cubicBezTo>
                <a:lnTo>
                  <a:pt x="743006" y="93489"/>
                </a:lnTo>
                <a:cubicBezTo>
                  <a:pt x="743006" y="90853"/>
                  <a:pt x="743908" y="89975"/>
                  <a:pt x="746614" y="89975"/>
                </a:cubicBezTo>
                <a:close/>
                <a:moveTo>
                  <a:pt x="624298" y="89975"/>
                </a:moveTo>
                <a:lnTo>
                  <a:pt x="721014" y="89975"/>
                </a:lnTo>
                <a:cubicBezTo>
                  <a:pt x="723719" y="89975"/>
                  <a:pt x="724621" y="90853"/>
                  <a:pt x="724621" y="93489"/>
                </a:cubicBezTo>
                <a:lnTo>
                  <a:pt x="724621" y="117455"/>
                </a:lnTo>
                <a:cubicBezTo>
                  <a:pt x="724621" y="120091"/>
                  <a:pt x="723719" y="120969"/>
                  <a:pt x="721014" y="120969"/>
                </a:cubicBezTo>
                <a:lnTo>
                  <a:pt x="654738" y="120969"/>
                </a:lnTo>
                <a:lnTo>
                  <a:pt x="654738" y="154173"/>
                </a:lnTo>
                <a:lnTo>
                  <a:pt x="712656" y="154173"/>
                </a:lnTo>
                <a:cubicBezTo>
                  <a:pt x="715362" y="154173"/>
                  <a:pt x="716263" y="155051"/>
                  <a:pt x="716263" y="157701"/>
                </a:cubicBezTo>
                <a:lnTo>
                  <a:pt x="716263" y="181726"/>
                </a:lnTo>
                <a:cubicBezTo>
                  <a:pt x="716263" y="184361"/>
                  <a:pt x="715362" y="185240"/>
                  <a:pt x="712656" y="185240"/>
                </a:cubicBezTo>
                <a:lnTo>
                  <a:pt x="654738" y="185240"/>
                </a:lnTo>
                <a:lnTo>
                  <a:pt x="654738" y="239994"/>
                </a:lnTo>
                <a:cubicBezTo>
                  <a:pt x="654738" y="242630"/>
                  <a:pt x="653836" y="243508"/>
                  <a:pt x="651130" y="243508"/>
                </a:cubicBezTo>
                <a:lnTo>
                  <a:pt x="624298" y="243508"/>
                </a:lnTo>
                <a:cubicBezTo>
                  <a:pt x="621592" y="243508"/>
                  <a:pt x="620690" y="242630"/>
                  <a:pt x="620690" y="239994"/>
                </a:cubicBezTo>
                <a:lnTo>
                  <a:pt x="620690" y="93489"/>
                </a:lnTo>
                <a:cubicBezTo>
                  <a:pt x="620690" y="90853"/>
                  <a:pt x="621592" y="89975"/>
                  <a:pt x="624298" y="89975"/>
                </a:cubicBezTo>
                <a:close/>
                <a:moveTo>
                  <a:pt x="481496" y="89975"/>
                </a:moveTo>
                <a:lnTo>
                  <a:pt x="554280" y="89975"/>
                </a:lnTo>
                <a:cubicBezTo>
                  <a:pt x="582210" y="89975"/>
                  <a:pt x="598475" y="105142"/>
                  <a:pt x="598519" y="130646"/>
                </a:cubicBezTo>
                <a:lnTo>
                  <a:pt x="598519" y="202837"/>
                </a:lnTo>
                <a:cubicBezTo>
                  <a:pt x="598519" y="228341"/>
                  <a:pt x="582285" y="243508"/>
                  <a:pt x="554325" y="243508"/>
                </a:cubicBezTo>
                <a:lnTo>
                  <a:pt x="481496" y="243508"/>
                </a:lnTo>
                <a:cubicBezTo>
                  <a:pt x="478790" y="243508"/>
                  <a:pt x="477888" y="242630"/>
                  <a:pt x="477888" y="239994"/>
                </a:cubicBezTo>
                <a:lnTo>
                  <a:pt x="477888" y="93489"/>
                </a:lnTo>
                <a:cubicBezTo>
                  <a:pt x="477888" y="90853"/>
                  <a:pt x="478790" y="89975"/>
                  <a:pt x="481496" y="89975"/>
                </a:cubicBezTo>
                <a:close/>
                <a:moveTo>
                  <a:pt x="925345" y="88877"/>
                </a:moveTo>
                <a:cubicBezTo>
                  <a:pt x="949922" y="88877"/>
                  <a:pt x="978107" y="89536"/>
                  <a:pt x="978107" y="89536"/>
                </a:cubicBezTo>
                <a:cubicBezTo>
                  <a:pt x="980812" y="89536"/>
                  <a:pt x="981717" y="90414"/>
                  <a:pt x="981717" y="93050"/>
                </a:cubicBezTo>
                <a:lnTo>
                  <a:pt x="981717" y="117016"/>
                </a:lnTo>
                <a:cubicBezTo>
                  <a:pt x="981717" y="119651"/>
                  <a:pt x="980812" y="120529"/>
                  <a:pt x="978107" y="120529"/>
                </a:cubicBezTo>
                <a:cubicBezTo>
                  <a:pt x="978107" y="120529"/>
                  <a:pt x="952327" y="119870"/>
                  <a:pt x="930005" y="119870"/>
                </a:cubicBezTo>
                <a:cubicBezTo>
                  <a:pt x="919407" y="119870"/>
                  <a:pt x="915123" y="119870"/>
                  <a:pt x="915123" y="130866"/>
                </a:cubicBezTo>
                <a:lnTo>
                  <a:pt x="915123" y="133955"/>
                </a:lnTo>
                <a:cubicBezTo>
                  <a:pt x="915123" y="142080"/>
                  <a:pt x="917152" y="143617"/>
                  <a:pt x="925044" y="146048"/>
                </a:cubicBezTo>
                <a:lnTo>
                  <a:pt x="959990" y="157263"/>
                </a:lnTo>
                <a:cubicBezTo>
                  <a:pt x="974878" y="161874"/>
                  <a:pt x="991080" y="166486"/>
                  <a:pt x="991080" y="194229"/>
                </a:cubicBezTo>
                <a:lnTo>
                  <a:pt x="991080" y="206322"/>
                </a:lnTo>
                <a:cubicBezTo>
                  <a:pt x="991080" y="231796"/>
                  <a:pt x="975173" y="244635"/>
                  <a:pt x="946990" y="244635"/>
                </a:cubicBezTo>
                <a:cubicBezTo>
                  <a:pt x="918806" y="244635"/>
                  <a:pt x="885991" y="243977"/>
                  <a:pt x="885991" y="243977"/>
                </a:cubicBezTo>
                <a:cubicBezTo>
                  <a:pt x="883285" y="243977"/>
                  <a:pt x="882383" y="243098"/>
                  <a:pt x="882383" y="240463"/>
                </a:cubicBezTo>
                <a:lnTo>
                  <a:pt x="882383" y="216497"/>
                </a:lnTo>
                <a:cubicBezTo>
                  <a:pt x="882383" y="213862"/>
                  <a:pt x="883285" y="212969"/>
                  <a:pt x="885991" y="212969"/>
                </a:cubicBezTo>
                <a:cubicBezTo>
                  <a:pt x="885991" y="212969"/>
                  <a:pt x="918205" y="213642"/>
                  <a:pt x="942256" y="213642"/>
                </a:cubicBezTo>
                <a:cubicBezTo>
                  <a:pt x="952856" y="213642"/>
                  <a:pt x="956914" y="212910"/>
                  <a:pt x="956914" y="201930"/>
                </a:cubicBezTo>
                <a:lnTo>
                  <a:pt x="956914" y="198372"/>
                </a:lnTo>
                <a:cubicBezTo>
                  <a:pt x="956914" y="190247"/>
                  <a:pt x="954885" y="188036"/>
                  <a:pt x="946990" y="185620"/>
                </a:cubicBezTo>
                <a:lnTo>
                  <a:pt x="912267" y="174626"/>
                </a:lnTo>
                <a:cubicBezTo>
                  <a:pt x="897159" y="170014"/>
                  <a:pt x="881166" y="165387"/>
                  <a:pt x="881166" y="137908"/>
                </a:cubicBezTo>
                <a:lnTo>
                  <a:pt x="881166" y="126034"/>
                </a:lnTo>
                <a:cubicBezTo>
                  <a:pt x="881166" y="100590"/>
                  <a:pt x="897385" y="88877"/>
                  <a:pt x="925345" y="88877"/>
                </a:cubicBezTo>
                <a:close/>
                <a:moveTo>
                  <a:pt x="199827" y="28"/>
                </a:moveTo>
                <a:lnTo>
                  <a:pt x="475181" y="28"/>
                </a:lnTo>
                <a:cubicBezTo>
                  <a:pt x="475636" y="-44"/>
                  <a:pt x="476102" y="19"/>
                  <a:pt x="476520" y="207"/>
                </a:cubicBezTo>
                <a:cubicBezTo>
                  <a:pt x="476938" y="395"/>
                  <a:pt x="477290" y="701"/>
                  <a:pt x="477528" y="1084"/>
                </a:cubicBezTo>
                <a:cubicBezTo>
                  <a:pt x="477767" y="1468"/>
                  <a:pt x="477883" y="1912"/>
                  <a:pt x="477861" y="2360"/>
                </a:cubicBezTo>
                <a:cubicBezTo>
                  <a:pt x="477839" y="2808"/>
                  <a:pt x="477681" y="3240"/>
                  <a:pt x="477406" y="3600"/>
                </a:cubicBezTo>
                <a:lnTo>
                  <a:pt x="283885" y="330080"/>
                </a:lnTo>
                <a:cubicBezTo>
                  <a:pt x="283348" y="331133"/>
                  <a:pt x="282505" y="332010"/>
                  <a:pt x="281459" y="332601"/>
                </a:cubicBezTo>
                <a:cubicBezTo>
                  <a:pt x="280414" y="333192"/>
                  <a:pt x="279214" y="333470"/>
                  <a:pt x="278008" y="333403"/>
                </a:cubicBezTo>
                <a:lnTo>
                  <a:pt x="2713" y="333403"/>
                </a:lnTo>
                <a:cubicBezTo>
                  <a:pt x="2254" y="333481"/>
                  <a:pt x="1783" y="333422"/>
                  <a:pt x="1359" y="333235"/>
                </a:cubicBezTo>
                <a:cubicBezTo>
                  <a:pt x="935" y="333048"/>
                  <a:pt x="579" y="332740"/>
                  <a:pt x="337" y="332353"/>
                </a:cubicBezTo>
                <a:cubicBezTo>
                  <a:pt x="95" y="331966"/>
                  <a:pt x="-21" y="331517"/>
                  <a:pt x="3" y="331064"/>
                </a:cubicBezTo>
                <a:cubicBezTo>
                  <a:pt x="27" y="330611"/>
                  <a:pt x="191" y="330177"/>
                  <a:pt x="473" y="329816"/>
                </a:cubicBezTo>
                <a:lnTo>
                  <a:pt x="193949" y="3351"/>
                </a:lnTo>
                <a:cubicBezTo>
                  <a:pt x="194486" y="2297"/>
                  <a:pt x="195330" y="1420"/>
                  <a:pt x="196375" y="829"/>
                </a:cubicBezTo>
                <a:cubicBezTo>
                  <a:pt x="197420" y="238"/>
                  <a:pt x="198620" y="-41"/>
                  <a:pt x="199827" y="28"/>
                </a:cubicBezTo>
                <a:close/>
              </a:path>
            </a:pathLst>
          </a:custGeom>
          <a:solidFill>
            <a:schemeClr val="bg1"/>
          </a:solidFill>
        </p:spPr>
        <p:txBody>
          <a:bodyPr wrap="square">
            <a:noAutofit/>
          </a:bodyPr>
          <a:lstStyle>
            <a:lvl1pPr marL="126000" indent="0">
              <a:buFontTx/>
              <a:buNone/>
              <a:defRPr sz="800">
                <a:noFill/>
              </a:defRPr>
            </a:lvl1pPr>
          </a:lstStyle>
          <a:p>
            <a:pPr lvl="0"/>
            <a:r>
              <a:rPr lang="en-GB"/>
              <a:t>Set text to 'No Fill'</a:t>
            </a:r>
          </a:p>
        </p:txBody>
      </p:sp>
      <p:sp>
        <p:nvSpPr>
          <p:cNvPr id="31" name="Text Placeholder 30">
            <a:extLst>
              <a:ext uri="{FF2B5EF4-FFF2-40B4-BE49-F238E27FC236}">
                <a16:creationId xmlns:a16="http://schemas.microsoft.com/office/drawing/2014/main" id="{027A215C-B312-25DB-741C-02A1A80E8212}"/>
              </a:ext>
            </a:extLst>
          </p:cNvPr>
          <p:cNvSpPr>
            <a:spLocks noGrp="1"/>
          </p:cNvSpPr>
          <p:nvPr>
            <p:ph type="body" sz="quarter" idx="20" hasCustomPrompt="1"/>
          </p:nvPr>
        </p:nvSpPr>
        <p:spPr bwMode="white">
          <a:xfrm>
            <a:off x="266701" y="6340277"/>
            <a:ext cx="247052" cy="247060"/>
          </a:xfrm>
          <a:custGeom>
            <a:avLst/>
            <a:gdLst>
              <a:gd name="connsiteX0" fmla="*/ 4085 w 247052"/>
              <a:gd name="connsiteY0" fmla="*/ 82112 h 247060"/>
              <a:gd name="connsiteX1" fmla="*/ 55306 w 247052"/>
              <a:gd name="connsiteY1" fmla="*/ 82112 h 247060"/>
              <a:gd name="connsiteX2" fmla="*/ 55306 w 247052"/>
              <a:gd name="connsiteY2" fmla="*/ 247060 h 247060"/>
              <a:gd name="connsiteX3" fmla="*/ 4085 w 247052"/>
              <a:gd name="connsiteY3" fmla="*/ 247060 h 247060"/>
              <a:gd name="connsiteX4" fmla="*/ 185684 w 247052"/>
              <a:gd name="connsiteY4" fmla="*/ 77973 h 247060"/>
              <a:gd name="connsiteX5" fmla="*/ 244754 w 247052"/>
              <a:gd name="connsiteY5" fmla="*/ 125484 h 247060"/>
              <a:gd name="connsiteX6" fmla="*/ 247052 w 247052"/>
              <a:gd name="connsiteY6" fmla="*/ 156438 h 247060"/>
              <a:gd name="connsiteX7" fmla="*/ 247052 w 247052"/>
              <a:gd name="connsiteY7" fmla="*/ 247060 h 247060"/>
              <a:gd name="connsiteX8" fmla="*/ 247008 w 247052"/>
              <a:gd name="connsiteY8" fmla="*/ 247060 h 247060"/>
              <a:gd name="connsiteX9" fmla="*/ 195902 w 247052"/>
              <a:gd name="connsiteY9" fmla="*/ 247060 h 247060"/>
              <a:gd name="connsiteX10" fmla="*/ 195902 w 247052"/>
              <a:gd name="connsiteY10" fmla="*/ 166766 h 247060"/>
              <a:gd name="connsiteX11" fmla="*/ 169273 w 247052"/>
              <a:gd name="connsiteY11" fmla="*/ 123089 h 247060"/>
              <a:gd name="connsiteX12" fmla="*/ 138557 w 247052"/>
              <a:gd name="connsiteY12" fmla="*/ 165389 h 247060"/>
              <a:gd name="connsiteX13" fmla="*/ 138557 w 247052"/>
              <a:gd name="connsiteY13" fmla="*/ 247060 h 247060"/>
              <a:gd name="connsiteX14" fmla="*/ 87389 w 247052"/>
              <a:gd name="connsiteY14" fmla="*/ 247060 h 247060"/>
              <a:gd name="connsiteX15" fmla="*/ 87389 w 247052"/>
              <a:gd name="connsiteY15" fmla="*/ 82112 h 247060"/>
              <a:gd name="connsiteX16" fmla="*/ 136510 w 247052"/>
              <a:gd name="connsiteY16" fmla="*/ 82112 h 247060"/>
              <a:gd name="connsiteX17" fmla="*/ 136510 w 247052"/>
              <a:gd name="connsiteY17" fmla="*/ 104612 h 247060"/>
              <a:gd name="connsiteX18" fmla="*/ 137225 w 247052"/>
              <a:gd name="connsiteY18" fmla="*/ 104612 h 247060"/>
              <a:gd name="connsiteX19" fmla="*/ 185684 w 247052"/>
              <a:gd name="connsiteY19" fmla="*/ 77973 h 247060"/>
              <a:gd name="connsiteX20" fmla="*/ 29663 w 247052"/>
              <a:gd name="connsiteY20" fmla="*/ 0 h 247060"/>
              <a:gd name="connsiteX21" fmla="*/ 29667 w 247052"/>
              <a:gd name="connsiteY21" fmla="*/ 0 h 247060"/>
              <a:gd name="connsiteX22" fmla="*/ 50642 w 247052"/>
              <a:gd name="connsiteY22" fmla="*/ 8687 h 247060"/>
              <a:gd name="connsiteX23" fmla="*/ 59330 w 247052"/>
              <a:gd name="connsiteY23" fmla="*/ 29664 h 247060"/>
              <a:gd name="connsiteX24" fmla="*/ 29665 w 247052"/>
              <a:gd name="connsiteY24" fmla="*/ 59611 h 247060"/>
              <a:gd name="connsiteX25" fmla="*/ 0 w 247052"/>
              <a:gd name="connsiteY25" fmla="*/ 29664 h 247060"/>
              <a:gd name="connsiteX26" fmla="*/ 8688 w 247052"/>
              <a:gd name="connsiteY26" fmla="*/ 8690 h 247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47052" h="247060">
                <a:moveTo>
                  <a:pt x="4085" y="82112"/>
                </a:moveTo>
                <a:lnTo>
                  <a:pt x="55306" y="82112"/>
                </a:lnTo>
                <a:lnTo>
                  <a:pt x="55306" y="247060"/>
                </a:lnTo>
                <a:lnTo>
                  <a:pt x="4085" y="247060"/>
                </a:lnTo>
                <a:close/>
                <a:moveTo>
                  <a:pt x="185684" y="77973"/>
                </a:moveTo>
                <a:cubicBezTo>
                  <a:pt x="224563" y="77973"/>
                  <a:pt x="239644" y="97176"/>
                  <a:pt x="244754" y="125484"/>
                </a:cubicBezTo>
                <a:lnTo>
                  <a:pt x="247052" y="156438"/>
                </a:lnTo>
                <a:lnTo>
                  <a:pt x="247052" y="247060"/>
                </a:lnTo>
                <a:lnTo>
                  <a:pt x="247008" y="247060"/>
                </a:lnTo>
                <a:lnTo>
                  <a:pt x="195902" y="247060"/>
                </a:lnTo>
                <a:lnTo>
                  <a:pt x="195902" y="166766"/>
                </a:lnTo>
                <a:cubicBezTo>
                  <a:pt x="195902" y="147627"/>
                  <a:pt x="195514" y="123089"/>
                  <a:pt x="169273" y="123089"/>
                </a:cubicBezTo>
                <a:cubicBezTo>
                  <a:pt x="142643" y="123089"/>
                  <a:pt x="138557" y="143877"/>
                  <a:pt x="138557" y="165389"/>
                </a:cubicBezTo>
                <a:lnTo>
                  <a:pt x="138557" y="247060"/>
                </a:lnTo>
                <a:lnTo>
                  <a:pt x="87389" y="247060"/>
                </a:lnTo>
                <a:lnTo>
                  <a:pt x="87389" y="82112"/>
                </a:lnTo>
                <a:lnTo>
                  <a:pt x="136510" y="82112"/>
                </a:lnTo>
                <a:lnTo>
                  <a:pt x="136510" y="104612"/>
                </a:lnTo>
                <a:lnTo>
                  <a:pt x="137225" y="104612"/>
                </a:lnTo>
                <a:cubicBezTo>
                  <a:pt x="144063" y="91650"/>
                  <a:pt x="160767" y="77973"/>
                  <a:pt x="185684" y="77973"/>
                </a:cubicBezTo>
                <a:close/>
                <a:moveTo>
                  <a:pt x="29663" y="0"/>
                </a:moveTo>
                <a:lnTo>
                  <a:pt x="29667" y="0"/>
                </a:lnTo>
                <a:lnTo>
                  <a:pt x="50642" y="8687"/>
                </a:lnTo>
                <a:cubicBezTo>
                  <a:pt x="56010" y="14056"/>
                  <a:pt x="59330" y="21472"/>
                  <a:pt x="59330" y="29664"/>
                </a:cubicBezTo>
                <a:cubicBezTo>
                  <a:pt x="59330" y="46041"/>
                  <a:pt x="46042" y="59611"/>
                  <a:pt x="29665" y="59611"/>
                </a:cubicBezTo>
                <a:cubicBezTo>
                  <a:pt x="13288" y="59611"/>
                  <a:pt x="0" y="46041"/>
                  <a:pt x="0" y="29664"/>
                </a:cubicBezTo>
                <a:cubicBezTo>
                  <a:pt x="0" y="21476"/>
                  <a:pt x="3320" y="14060"/>
                  <a:pt x="8688" y="8690"/>
                </a:cubicBezTo>
                <a:close/>
              </a:path>
            </a:pathLst>
          </a:custGeom>
          <a:solidFill>
            <a:schemeClr val="bg1"/>
          </a:solidFill>
        </p:spPr>
        <p:txBody>
          <a:bodyPr wrap="square">
            <a:noAutofit/>
          </a:bodyPr>
          <a:lstStyle>
            <a:lvl1pPr marL="126000" indent="0">
              <a:buFontTx/>
              <a:buNone/>
              <a:defRPr sz="100">
                <a:noFill/>
              </a:defRPr>
            </a:lvl1pPr>
          </a:lstStyle>
          <a:p>
            <a:pPr lvl="0"/>
            <a:r>
              <a:rPr lang="en-GB"/>
              <a:t>Set text to 'No Fill'</a:t>
            </a:r>
          </a:p>
        </p:txBody>
      </p:sp>
      <p:sp>
        <p:nvSpPr>
          <p:cNvPr id="33" name="Text Placeholder 32">
            <a:extLst>
              <a:ext uri="{FF2B5EF4-FFF2-40B4-BE49-F238E27FC236}">
                <a16:creationId xmlns:a16="http://schemas.microsoft.com/office/drawing/2014/main" id="{6A8CC4DD-309F-16CD-74A7-7F27BB26629A}"/>
              </a:ext>
            </a:extLst>
          </p:cNvPr>
          <p:cNvSpPr>
            <a:spLocks noGrp="1"/>
          </p:cNvSpPr>
          <p:nvPr>
            <p:ph type="body" sz="quarter" idx="21" hasCustomPrompt="1"/>
          </p:nvPr>
        </p:nvSpPr>
        <p:spPr bwMode="white">
          <a:xfrm>
            <a:off x="704254" y="6340280"/>
            <a:ext cx="247051" cy="247052"/>
          </a:xfrm>
          <a:custGeom>
            <a:avLst/>
            <a:gdLst>
              <a:gd name="connsiteX0" fmla="*/ 123525 w 247051"/>
              <a:gd name="connsiteY0" fmla="*/ 82364 h 247052"/>
              <a:gd name="connsiteX1" fmla="*/ 82346 w 247051"/>
              <a:gd name="connsiteY1" fmla="*/ 123541 h 247052"/>
              <a:gd name="connsiteX2" fmla="*/ 123525 w 247051"/>
              <a:gd name="connsiteY2" fmla="*/ 164720 h 247052"/>
              <a:gd name="connsiteX3" fmla="*/ 164702 w 247051"/>
              <a:gd name="connsiteY3" fmla="*/ 123541 h 247052"/>
              <a:gd name="connsiteX4" fmla="*/ 123525 w 247051"/>
              <a:gd name="connsiteY4" fmla="*/ 82364 h 247052"/>
              <a:gd name="connsiteX5" fmla="*/ 123525 w 247051"/>
              <a:gd name="connsiteY5" fmla="*/ 60126 h 247052"/>
              <a:gd name="connsiteX6" fmla="*/ 186940 w 247051"/>
              <a:gd name="connsiteY6" fmla="*/ 123541 h 247052"/>
              <a:gd name="connsiteX7" fmla="*/ 123525 w 247051"/>
              <a:gd name="connsiteY7" fmla="*/ 186957 h 247052"/>
              <a:gd name="connsiteX8" fmla="*/ 60109 w 247051"/>
              <a:gd name="connsiteY8" fmla="*/ 123541 h 247052"/>
              <a:gd name="connsiteX9" fmla="*/ 123525 w 247051"/>
              <a:gd name="connsiteY9" fmla="*/ 60126 h 247052"/>
              <a:gd name="connsiteX10" fmla="*/ 189473 w 247051"/>
              <a:gd name="connsiteY10" fmla="*/ 42792 h 247052"/>
              <a:gd name="connsiteX11" fmla="*/ 204321 w 247051"/>
              <a:gd name="connsiteY11" fmla="*/ 57594 h 247052"/>
              <a:gd name="connsiteX12" fmla="*/ 189473 w 247051"/>
              <a:gd name="connsiteY12" fmla="*/ 72426 h 247052"/>
              <a:gd name="connsiteX13" fmla="*/ 174640 w 247051"/>
              <a:gd name="connsiteY13" fmla="*/ 57594 h 247052"/>
              <a:gd name="connsiteX14" fmla="*/ 189473 w 247051"/>
              <a:gd name="connsiteY14" fmla="*/ 42792 h 247052"/>
              <a:gd name="connsiteX15" fmla="*/ 123015 w 247051"/>
              <a:gd name="connsiteY15" fmla="*/ 21882 h 247052"/>
              <a:gd name="connsiteX16" fmla="*/ 73035 w 247051"/>
              <a:gd name="connsiteY16" fmla="*/ 22523 h 247052"/>
              <a:gd name="connsiteX17" fmla="*/ 50149 w 247051"/>
              <a:gd name="connsiteY17" fmla="*/ 26824 h 247052"/>
              <a:gd name="connsiteX18" fmla="*/ 35949 w 247051"/>
              <a:gd name="connsiteY18" fmla="*/ 36082 h 247052"/>
              <a:gd name="connsiteX19" fmla="*/ 26707 w 247051"/>
              <a:gd name="connsiteY19" fmla="*/ 50320 h 247052"/>
              <a:gd name="connsiteX20" fmla="*/ 22360 w 247051"/>
              <a:gd name="connsiteY20" fmla="*/ 73322 h 247052"/>
              <a:gd name="connsiteX21" fmla="*/ 21711 w 247051"/>
              <a:gd name="connsiteY21" fmla="*/ 123349 h 247052"/>
              <a:gd name="connsiteX22" fmla="*/ 22360 w 247051"/>
              <a:gd name="connsiteY22" fmla="*/ 173221 h 247052"/>
              <a:gd name="connsiteX23" fmla="*/ 26707 w 247051"/>
              <a:gd name="connsiteY23" fmla="*/ 196223 h 247052"/>
              <a:gd name="connsiteX24" fmla="*/ 35949 w 247051"/>
              <a:gd name="connsiteY24" fmla="*/ 210461 h 247052"/>
              <a:gd name="connsiteX25" fmla="*/ 50149 w 247051"/>
              <a:gd name="connsiteY25" fmla="*/ 219719 h 247052"/>
              <a:gd name="connsiteX26" fmla="*/ 73151 w 247051"/>
              <a:gd name="connsiteY26" fmla="*/ 224066 h 247052"/>
              <a:gd name="connsiteX27" fmla="*/ 123185 w 247051"/>
              <a:gd name="connsiteY27" fmla="*/ 224830 h 247052"/>
              <a:gd name="connsiteX28" fmla="*/ 173212 w 247051"/>
              <a:gd name="connsiteY28" fmla="*/ 224112 h 247052"/>
              <a:gd name="connsiteX29" fmla="*/ 196214 w 247051"/>
              <a:gd name="connsiteY29" fmla="*/ 219843 h 247052"/>
              <a:gd name="connsiteX30" fmla="*/ 210452 w 247051"/>
              <a:gd name="connsiteY30" fmla="*/ 210639 h 247052"/>
              <a:gd name="connsiteX31" fmla="*/ 219709 w 247051"/>
              <a:gd name="connsiteY31" fmla="*/ 196401 h 247052"/>
              <a:gd name="connsiteX32" fmla="*/ 224057 w 247051"/>
              <a:gd name="connsiteY32" fmla="*/ 173484 h 247052"/>
              <a:gd name="connsiteX33" fmla="*/ 224821 w 247051"/>
              <a:gd name="connsiteY33" fmla="*/ 123534 h 247052"/>
              <a:gd name="connsiteX34" fmla="*/ 224103 w 247051"/>
              <a:gd name="connsiteY34" fmla="*/ 73585 h 247052"/>
              <a:gd name="connsiteX35" fmla="*/ 219833 w 247051"/>
              <a:gd name="connsiteY35" fmla="*/ 50667 h 247052"/>
              <a:gd name="connsiteX36" fmla="*/ 210629 w 247051"/>
              <a:gd name="connsiteY36" fmla="*/ 36468 h 247052"/>
              <a:gd name="connsiteX37" fmla="*/ 196391 w 247051"/>
              <a:gd name="connsiteY37" fmla="*/ 27226 h 247052"/>
              <a:gd name="connsiteX38" fmla="*/ 173474 w 247051"/>
              <a:gd name="connsiteY38" fmla="*/ 22956 h 247052"/>
              <a:gd name="connsiteX39" fmla="*/ 123525 w 247051"/>
              <a:gd name="connsiteY39" fmla="*/ 22237 h 247052"/>
              <a:gd name="connsiteX40" fmla="*/ 123525 w 247051"/>
              <a:gd name="connsiteY40" fmla="*/ 0 h 247052"/>
              <a:gd name="connsiteX41" fmla="*/ 174431 w 247051"/>
              <a:gd name="connsiteY41" fmla="*/ 718 h 247052"/>
              <a:gd name="connsiteX42" fmla="*/ 204429 w 247051"/>
              <a:gd name="connsiteY42" fmla="*/ 6470 h 247052"/>
              <a:gd name="connsiteX43" fmla="*/ 226303 w 247051"/>
              <a:gd name="connsiteY43" fmla="*/ 20747 h 247052"/>
              <a:gd name="connsiteX44" fmla="*/ 240580 w 247051"/>
              <a:gd name="connsiteY44" fmla="*/ 42622 h 247052"/>
              <a:gd name="connsiteX45" fmla="*/ 246333 w 247051"/>
              <a:gd name="connsiteY45" fmla="*/ 72619 h 247052"/>
              <a:gd name="connsiteX46" fmla="*/ 247051 w 247051"/>
              <a:gd name="connsiteY46" fmla="*/ 123526 h 247052"/>
              <a:gd name="connsiteX47" fmla="*/ 246333 w 247051"/>
              <a:gd name="connsiteY47" fmla="*/ 174433 h 247052"/>
              <a:gd name="connsiteX48" fmla="*/ 240580 w 247051"/>
              <a:gd name="connsiteY48" fmla="*/ 204430 h 247052"/>
              <a:gd name="connsiteX49" fmla="*/ 226303 w 247051"/>
              <a:gd name="connsiteY49" fmla="*/ 226306 h 247052"/>
              <a:gd name="connsiteX50" fmla="*/ 204429 w 247051"/>
              <a:gd name="connsiteY50" fmla="*/ 240582 h 247052"/>
              <a:gd name="connsiteX51" fmla="*/ 174431 w 247051"/>
              <a:gd name="connsiteY51" fmla="*/ 246335 h 247052"/>
              <a:gd name="connsiteX52" fmla="*/ 143798 w 247051"/>
              <a:gd name="connsiteY52" fmla="*/ 247019 h 247052"/>
              <a:gd name="connsiteX53" fmla="*/ 124117 w 247051"/>
              <a:gd name="connsiteY53" fmla="*/ 247052 h 247052"/>
              <a:gd name="connsiteX54" fmla="*/ 122819 w 247051"/>
              <a:gd name="connsiteY54" fmla="*/ 247052 h 247052"/>
              <a:gd name="connsiteX55" fmla="*/ 103253 w 247051"/>
              <a:gd name="connsiteY55" fmla="*/ 247025 h 247052"/>
              <a:gd name="connsiteX56" fmla="*/ 72618 w 247051"/>
              <a:gd name="connsiteY56" fmla="*/ 246335 h 247052"/>
              <a:gd name="connsiteX57" fmla="*/ 42620 w 247051"/>
              <a:gd name="connsiteY57" fmla="*/ 240582 h 247052"/>
              <a:gd name="connsiteX58" fmla="*/ 20745 w 247051"/>
              <a:gd name="connsiteY58" fmla="*/ 226306 h 247052"/>
              <a:gd name="connsiteX59" fmla="*/ 6469 w 247051"/>
              <a:gd name="connsiteY59" fmla="*/ 204430 h 247052"/>
              <a:gd name="connsiteX60" fmla="*/ 716 w 247051"/>
              <a:gd name="connsiteY60" fmla="*/ 174433 h 247052"/>
              <a:gd name="connsiteX61" fmla="*/ 33 w 247051"/>
              <a:gd name="connsiteY61" fmla="*/ 143799 h 247052"/>
              <a:gd name="connsiteX62" fmla="*/ 0 w 247051"/>
              <a:gd name="connsiteY62" fmla="*/ 124124 h 247052"/>
              <a:gd name="connsiteX63" fmla="*/ 0 w 247051"/>
              <a:gd name="connsiteY63" fmla="*/ 122814 h 247052"/>
              <a:gd name="connsiteX64" fmla="*/ 28 w 247051"/>
              <a:gd name="connsiteY64" fmla="*/ 103255 h 247052"/>
              <a:gd name="connsiteX65" fmla="*/ 716 w 247051"/>
              <a:gd name="connsiteY65" fmla="*/ 72619 h 247052"/>
              <a:gd name="connsiteX66" fmla="*/ 6469 w 247051"/>
              <a:gd name="connsiteY66" fmla="*/ 42622 h 247052"/>
              <a:gd name="connsiteX67" fmla="*/ 20745 w 247051"/>
              <a:gd name="connsiteY67" fmla="*/ 20747 h 247052"/>
              <a:gd name="connsiteX68" fmla="*/ 42620 w 247051"/>
              <a:gd name="connsiteY68" fmla="*/ 6470 h 247052"/>
              <a:gd name="connsiteX69" fmla="*/ 72618 w 247051"/>
              <a:gd name="connsiteY69" fmla="*/ 718 h 247052"/>
              <a:gd name="connsiteX70" fmla="*/ 123525 w 247051"/>
              <a:gd name="connsiteY70" fmla="*/ 0 h 24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247051" h="247052">
                <a:moveTo>
                  <a:pt x="123525" y="82364"/>
                </a:moveTo>
                <a:cubicBezTo>
                  <a:pt x="100762" y="82364"/>
                  <a:pt x="82346" y="100779"/>
                  <a:pt x="82346" y="123541"/>
                </a:cubicBezTo>
                <a:cubicBezTo>
                  <a:pt x="82346" y="146304"/>
                  <a:pt x="100762" y="164720"/>
                  <a:pt x="123525" y="164720"/>
                </a:cubicBezTo>
                <a:cubicBezTo>
                  <a:pt x="146288" y="164720"/>
                  <a:pt x="164702" y="146304"/>
                  <a:pt x="164702" y="123541"/>
                </a:cubicBezTo>
                <a:cubicBezTo>
                  <a:pt x="164702" y="100779"/>
                  <a:pt x="146288" y="82364"/>
                  <a:pt x="123525" y="82364"/>
                </a:cubicBezTo>
                <a:close/>
                <a:moveTo>
                  <a:pt x="123525" y="60126"/>
                </a:moveTo>
                <a:cubicBezTo>
                  <a:pt x="158549" y="60126"/>
                  <a:pt x="186940" y="88479"/>
                  <a:pt x="186940" y="123541"/>
                </a:cubicBezTo>
                <a:cubicBezTo>
                  <a:pt x="186940" y="158566"/>
                  <a:pt x="158587" y="186957"/>
                  <a:pt x="123525" y="186957"/>
                </a:cubicBezTo>
                <a:cubicBezTo>
                  <a:pt x="88501" y="186957"/>
                  <a:pt x="60109" y="158605"/>
                  <a:pt x="60109" y="123541"/>
                </a:cubicBezTo>
                <a:cubicBezTo>
                  <a:pt x="60109" y="88518"/>
                  <a:pt x="88462" y="60126"/>
                  <a:pt x="123525" y="60126"/>
                </a:cubicBezTo>
                <a:close/>
                <a:moveTo>
                  <a:pt x="189473" y="42792"/>
                </a:moveTo>
                <a:cubicBezTo>
                  <a:pt x="197634" y="42792"/>
                  <a:pt x="204321" y="49432"/>
                  <a:pt x="204321" y="57594"/>
                </a:cubicBezTo>
                <a:cubicBezTo>
                  <a:pt x="204321" y="65801"/>
                  <a:pt x="197642" y="72426"/>
                  <a:pt x="189473" y="72426"/>
                </a:cubicBezTo>
                <a:cubicBezTo>
                  <a:pt x="181265" y="72426"/>
                  <a:pt x="174640" y="65794"/>
                  <a:pt x="174640" y="57594"/>
                </a:cubicBezTo>
                <a:cubicBezTo>
                  <a:pt x="174640" y="49432"/>
                  <a:pt x="181311" y="42792"/>
                  <a:pt x="189473" y="42792"/>
                </a:cubicBezTo>
                <a:close/>
                <a:moveTo>
                  <a:pt x="123015" y="21882"/>
                </a:moveTo>
                <a:cubicBezTo>
                  <a:pt x="89999" y="21882"/>
                  <a:pt x="86138" y="22052"/>
                  <a:pt x="73035" y="22523"/>
                </a:cubicBezTo>
                <a:cubicBezTo>
                  <a:pt x="60967" y="23125"/>
                  <a:pt x="54496" y="25133"/>
                  <a:pt x="50149" y="26824"/>
                </a:cubicBezTo>
                <a:cubicBezTo>
                  <a:pt x="44281" y="29001"/>
                  <a:pt x="40250" y="31781"/>
                  <a:pt x="35949" y="36082"/>
                </a:cubicBezTo>
                <a:cubicBezTo>
                  <a:pt x="31610" y="40429"/>
                  <a:pt x="28838" y="44444"/>
                  <a:pt x="26707" y="50320"/>
                </a:cubicBezTo>
                <a:cubicBezTo>
                  <a:pt x="24977" y="54629"/>
                  <a:pt x="23001" y="61253"/>
                  <a:pt x="22360" y="73322"/>
                </a:cubicBezTo>
                <a:cubicBezTo>
                  <a:pt x="21920" y="86433"/>
                  <a:pt x="21711" y="90456"/>
                  <a:pt x="21711" y="123349"/>
                </a:cubicBezTo>
                <a:cubicBezTo>
                  <a:pt x="21711" y="156257"/>
                  <a:pt x="21920" y="160273"/>
                  <a:pt x="22360" y="173221"/>
                </a:cubicBezTo>
                <a:cubicBezTo>
                  <a:pt x="23001" y="185289"/>
                  <a:pt x="24977" y="191930"/>
                  <a:pt x="26707" y="196223"/>
                </a:cubicBezTo>
                <a:cubicBezTo>
                  <a:pt x="28838" y="201975"/>
                  <a:pt x="31602" y="206113"/>
                  <a:pt x="35949" y="210461"/>
                </a:cubicBezTo>
                <a:cubicBezTo>
                  <a:pt x="40257" y="214770"/>
                  <a:pt x="44281" y="217380"/>
                  <a:pt x="50149" y="219719"/>
                </a:cubicBezTo>
                <a:cubicBezTo>
                  <a:pt x="54496" y="221410"/>
                  <a:pt x="61129" y="223418"/>
                  <a:pt x="73151" y="224066"/>
                </a:cubicBezTo>
                <a:cubicBezTo>
                  <a:pt x="86269" y="224668"/>
                  <a:pt x="90123" y="224830"/>
                  <a:pt x="123185" y="224830"/>
                </a:cubicBezTo>
                <a:cubicBezTo>
                  <a:pt x="156248" y="224830"/>
                  <a:pt x="160109" y="224668"/>
                  <a:pt x="173212" y="224112"/>
                </a:cubicBezTo>
                <a:cubicBezTo>
                  <a:pt x="185280" y="223549"/>
                  <a:pt x="191920" y="221541"/>
                  <a:pt x="196214" y="219843"/>
                </a:cubicBezTo>
                <a:cubicBezTo>
                  <a:pt x="201966" y="217596"/>
                  <a:pt x="206105" y="214939"/>
                  <a:pt x="210452" y="210639"/>
                </a:cubicBezTo>
                <a:cubicBezTo>
                  <a:pt x="214760" y="206253"/>
                  <a:pt x="217370" y="202199"/>
                  <a:pt x="219709" y="196401"/>
                </a:cubicBezTo>
                <a:cubicBezTo>
                  <a:pt x="221401" y="192054"/>
                  <a:pt x="223408" y="185505"/>
                  <a:pt x="224057" y="173484"/>
                </a:cubicBezTo>
                <a:cubicBezTo>
                  <a:pt x="224659" y="160450"/>
                  <a:pt x="224821" y="156504"/>
                  <a:pt x="224821" y="123534"/>
                </a:cubicBezTo>
                <a:cubicBezTo>
                  <a:pt x="224821" y="90564"/>
                  <a:pt x="224659" y="86618"/>
                  <a:pt x="224103" y="73585"/>
                </a:cubicBezTo>
                <a:cubicBezTo>
                  <a:pt x="223539" y="61562"/>
                  <a:pt x="221532" y="55015"/>
                  <a:pt x="219833" y="50667"/>
                </a:cubicBezTo>
                <a:cubicBezTo>
                  <a:pt x="217586" y="44869"/>
                  <a:pt x="214931" y="40769"/>
                  <a:pt x="210629" y="36468"/>
                </a:cubicBezTo>
                <a:cubicBezTo>
                  <a:pt x="206244" y="32129"/>
                  <a:pt x="202190" y="29472"/>
                  <a:pt x="196391" y="27226"/>
                </a:cubicBezTo>
                <a:cubicBezTo>
                  <a:pt x="192044" y="25527"/>
                  <a:pt x="185496" y="23519"/>
                  <a:pt x="173474" y="22956"/>
                </a:cubicBezTo>
                <a:cubicBezTo>
                  <a:pt x="160441" y="22400"/>
                  <a:pt x="156502" y="22237"/>
                  <a:pt x="123525" y="22237"/>
                </a:cubicBezTo>
                <a:close/>
                <a:moveTo>
                  <a:pt x="123525" y="0"/>
                </a:moveTo>
                <a:cubicBezTo>
                  <a:pt x="157105" y="0"/>
                  <a:pt x="161282" y="124"/>
                  <a:pt x="174431" y="718"/>
                </a:cubicBezTo>
                <a:cubicBezTo>
                  <a:pt x="187589" y="1367"/>
                  <a:pt x="196553" y="3413"/>
                  <a:pt x="204429" y="6470"/>
                </a:cubicBezTo>
                <a:cubicBezTo>
                  <a:pt x="212590" y="9605"/>
                  <a:pt x="219470" y="13868"/>
                  <a:pt x="226303" y="20747"/>
                </a:cubicBezTo>
                <a:cubicBezTo>
                  <a:pt x="233176" y="27581"/>
                  <a:pt x="237399" y="34499"/>
                  <a:pt x="240580" y="42622"/>
                </a:cubicBezTo>
                <a:cubicBezTo>
                  <a:pt x="243592" y="50451"/>
                  <a:pt x="245684" y="59462"/>
                  <a:pt x="246333" y="72619"/>
                </a:cubicBezTo>
                <a:cubicBezTo>
                  <a:pt x="246889" y="85761"/>
                  <a:pt x="247051" y="89946"/>
                  <a:pt x="247051" y="123526"/>
                </a:cubicBezTo>
                <a:cubicBezTo>
                  <a:pt x="247051" y="157106"/>
                  <a:pt x="246928" y="161284"/>
                  <a:pt x="246333" y="174433"/>
                </a:cubicBezTo>
                <a:cubicBezTo>
                  <a:pt x="245684" y="187590"/>
                  <a:pt x="243600" y="196555"/>
                  <a:pt x="240580" y="204430"/>
                </a:cubicBezTo>
                <a:cubicBezTo>
                  <a:pt x="237446" y="212592"/>
                  <a:pt x="233183" y="219471"/>
                  <a:pt x="226303" y="226306"/>
                </a:cubicBezTo>
                <a:cubicBezTo>
                  <a:pt x="219470" y="233177"/>
                  <a:pt x="212552" y="237401"/>
                  <a:pt x="204429" y="240582"/>
                </a:cubicBezTo>
                <a:cubicBezTo>
                  <a:pt x="196553" y="243593"/>
                  <a:pt x="187589" y="245686"/>
                  <a:pt x="174431" y="246335"/>
                </a:cubicBezTo>
                <a:cubicBezTo>
                  <a:pt x="164575" y="246752"/>
                  <a:pt x="159757" y="246947"/>
                  <a:pt x="143798" y="247019"/>
                </a:cubicBezTo>
                <a:lnTo>
                  <a:pt x="124117" y="247052"/>
                </a:lnTo>
                <a:lnTo>
                  <a:pt x="122819" y="247052"/>
                </a:lnTo>
                <a:lnTo>
                  <a:pt x="103253" y="247025"/>
                </a:lnTo>
                <a:cubicBezTo>
                  <a:pt x="87296" y="246962"/>
                  <a:pt x="82481" y="246781"/>
                  <a:pt x="72618" y="246335"/>
                </a:cubicBezTo>
                <a:cubicBezTo>
                  <a:pt x="59461" y="245686"/>
                  <a:pt x="50496" y="243601"/>
                  <a:pt x="42620" y="240582"/>
                </a:cubicBezTo>
                <a:cubicBezTo>
                  <a:pt x="34498" y="237447"/>
                  <a:pt x="27580" y="233185"/>
                  <a:pt x="20745" y="226306"/>
                </a:cubicBezTo>
                <a:cubicBezTo>
                  <a:pt x="13874" y="219471"/>
                  <a:pt x="9651" y="212553"/>
                  <a:pt x="6469" y="204430"/>
                </a:cubicBezTo>
                <a:cubicBezTo>
                  <a:pt x="3412" y="196555"/>
                  <a:pt x="1365" y="187590"/>
                  <a:pt x="716" y="174433"/>
                </a:cubicBezTo>
                <a:cubicBezTo>
                  <a:pt x="300" y="164577"/>
                  <a:pt x="105" y="159759"/>
                  <a:pt x="33" y="143799"/>
                </a:cubicBezTo>
                <a:lnTo>
                  <a:pt x="0" y="124124"/>
                </a:lnTo>
                <a:lnTo>
                  <a:pt x="0" y="122814"/>
                </a:lnTo>
                <a:lnTo>
                  <a:pt x="28" y="103255"/>
                </a:lnTo>
                <a:cubicBezTo>
                  <a:pt x="90" y="87297"/>
                  <a:pt x="271" y="82482"/>
                  <a:pt x="716" y="72619"/>
                </a:cubicBezTo>
                <a:cubicBezTo>
                  <a:pt x="1365" y="59424"/>
                  <a:pt x="3412" y="50498"/>
                  <a:pt x="6469" y="42622"/>
                </a:cubicBezTo>
                <a:cubicBezTo>
                  <a:pt x="9604" y="34499"/>
                  <a:pt x="13866" y="27581"/>
                  <a:pt x="20745" y="20747"/>
                </a:cubicBezTo>
                <a:cubicBezTo>
                  <a:pt x="27580" y="13875"/>
                  <a:pt x="34498" y="9652"/>
                  <a:pt x="42620" y="6470"/>
                </a:cubicBezTo>
                <a:cubicBezTo>
                  <a:pt x="50496" y="3413"/>
                  <a:pt x="59422" y="1367"/>
                  <a:pt x="72618" y="718"/>
                </a:cubicBezTo>
                <a:cubicBezTo>
                  <a:pt x="85759" y="162"/>
                  <a:pt x="89945" y="0"/>
                  <a:pt x="123525" y="0"/>
                </a:cubicBezTo>
                <a:close/>
              </a:path>
            </a:pathLst>
          </a:custGeom>
          <a:solidFill>
            <a:schemeClr val="bg1"/>
          </a:solidFill>
        </p:spPr>
        <p:txBody>
          <a:bodyPr wrap="square">
            <a:noAutofit/>
          </a:bodyPr>
          <a:lstStyle>
            <a:lvl1pPr marL="126000" indent="0">
              <a:buFontTx/>
              <a:buNone/>
              <a:defRPr sz="100">
                <a:noFill/>
              </a:defRPr>
            </a:lvl1pPr>
          </a:lstStyle>
          <a:p>
            <a:pPr lvl="0"/>
            <a:r>
              <a:rPr lang="en-GB"/>
              <a:t>Set text to 'No Fill'</a:t>
            </a:r>
          </a:p>
        </p:txBody>
      </p:sp>
      <p:sp>
        <p:nvSpPr>
          <p:cNvPr id="35" name="Text Placeholder 34">
            <a:extLst>
              <a:ext uri="{FF2B5EF4-FFF2-40B4-BE49-F238E27FC236}">
                <a16:creationId xmlns:a16="http://schemas.microsoft.com/office/drawing/2014/main" id="{3EC78E63-A468-EF44-0AF1-EA107A3DEB56}"/>
              </a:ext>
            </a:extLst>
          </p:cNvPr>
          <p:cNvSpPr>
            <a:spLocks noGrp="1"/>
          </p:cNvSpPr>
          <p:nvPr>
            <p:ph type="body" sz="quarter" idx="22" hasCustomPrompt="1"/>
          </p:nvPr>
        </p:nvSpPr>
        <p:spPr bwMode="white">
          <a:xfrm>
            <a:off x="1141805" y="6363403"/>
            <a:ext cx="247054" cy="200806"/>
          </a:xfrm>
          <a:custGeom>
            <a:avLst/>
            <a:gdLst>
              <a:gd name="connsiteX0" fmla="*/ 170612 w 247054"/>
              <a:gd name="connsiteY0" fmla="*/ 0 h 200806"/>
              <a:gd name="connsiteX1" fmla="*/ 170622 w 247054"/>
              <a:gd name="connsiteY1" fmla="*/ 0 h 200806"/>
              <a:gd name="connsiteX2" fmla="*/ 191120 w 247054"/>
              <a:gd name="connsiteY2" fmla="*/ 4330 h 200806"/>
              <a:gd name="connsiteX3" fmla="*/ 207574 w 247054"/>
              <a:gd name="connsiteY3" fmla="*/ 16050 h 200806"/>
              <a:gd name="connsiteX4" fmla="*/ 239787 w 247054"/>
              <a:gd name="connsiteY4" fmla="*/ 3859 h 200806"/>
              <a:gd name="connsiteX5" fmla="*/ 217518 w 247054"/>
              <a:gd name="connsiteY5" fmla="*/ 31892 h 200806"/>
              <a:gd name="connsiteX6" fmla="*/ 246578 w 247054"/>
              <a:gd name="connsiteY6" fmla="*/ 23924 h 200806"/>
              <a:gd name="connsiteX7" fmla="*/ 247054 w 247054"/>
              <a:gd name="connsiteY7" fmla="*/ 24117 h 200806"/>
              <a:gd name="connsiteX8" fmla="*/ 247054 w 247054"/>
              <a:gd name="connsiteY8" fmla="*/ 24118 h 200806"/>
              <a:gd name="connsiteX9" fmla="*/ 221718 w 247054"/>
              <a:gd name="connsiteY9" fmla="*/ 50336 h 200806"/>
              <a:gd name="connsiteX10" fmla="*/ 221880 w 247054"/>
              <a:gd name="connsiteY10" fmla="*/ 56813 h 200806"/>
              <a:gd name="connsiteX11" fmla="*/ 77815 w 247054"/>
              <a:gd name="connsiteY11" fmla="*/ 200806 h 200806"/>
              <a:gd name="connsiteX12" fmla="*/ 0 w 247054"/>
              <a:gd name="connsiteY12" fmla="*/ 178046 h 200806"/>
              <a:gd name="connsiteX13" fmla="*/ 12067 w 247054"/>
              <a:gd name="connsiteY13" fmla="*/ 178726 h 200806"/>
              <a:gd name="connsiteX14" fmla="*/ 74872 w 247054"/>
              <a:gd name="connsiteY14" fmla="*/ 157101 h 200806"/>
              <a:gd name="connsiteX15" fmla="*/ 27469 w 247054"/>
              <a:gd name="connsiteY15" fmla="*/ 121919 h 200806"/>
              <a:gd name="connsiteX16" fmla="*/ 36919 w 247054"/>
              <a:gd name="connsiteY16" fmla="*/ 122807 h 200806"/>
              <a:gd name="connsiteX17" fmla="*/ 50229 w 247054"/>
              <a:gd name="connsiteY17" fmla="*/ 121039 h 200806"/>
              <a:gd name="connsiteX18" fmla="*/ 9619 w 247054"/>
              <a:gd name="connsiteY18" fmla="*/ 71343 h 200806"/>
              <a:gd name="connsiteX19" fmla="*/ 9619 w 247054"/>
              <a:gd name="connsiteY19" fmla="*/ 70733 h 200806"/>
              <a:gd name="connsiteX20" fmla="*/ 32534 w 247054"/>
              <a:gd name="connsiteY20" fmla="*/ 77041 h 200806"/>
              <a:gd name="connsiteX21" fmla="*/ 10021 w 247054"/>
              <a:gd name="connsiteY21" fmla="*/ 34911 h 200806"/>
              <a:gd name="connsiteX22" fmla="*/ 16900 w 247054"/>
              <a:gd name="connsiteY22" fmla="*/ 9410 h 200806"/>
              <a:gd name="connsiteX23" fmla="*/ 121277 w 247054"/>
              <a:gd name="connsiteY23" fmla="*/ 62164 h 200806"/>
              <a:gd name="connsiteX24" fmla="*/ 119953 w 247054"/>
              <a:gd name="connsiteY24" fmla="*/ 50622 h 200806"/>
              <a:gd name="connsiteX25" fmla="*/ 150895 w 247054"/>
              <a:gd name="connsiteY25" fmla="*/ 3979 h 200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47054" h="200806">
                <a:moveTo>
                  <a:pt x="170612" y="0"/>
                </a:moveTo>
                <a:lnTo>
                  <a:pt x="170622" y="0"/>
                </a:lnTo>
                <a:lnTo>
                  <a:pt x="191120" y="4330"/>
                </a:lnTo>
                <a:cubicBezTo>
                  <a:pt x="197384" y="7112"/>
                  <a:pt x="202973" y="11124"/>
                  <a:pt x="207574" y="16050"/>
                </a:cubicBezTo>
                <a:cubicBezTo>
                  <a:pt x="219118" y="13710"/>
                  <a:pt x="229976" y="9572"/>
                  <a:pt x="239787" y="3859"/>
                </a:cubicBezTo>
                <a:cubicBezTo>
                  <a:pt x="235977" y="15687"/>
                  <a:pt x="227976" y="25615"/>
                  <a:pt x="217518" y="31892"/>
                </a:cubicBezTo>
                <a:cubicBezTo>
                  <a:pt x="227767" y="30649"/>
                  <a:pt x="237492" y="27908"/>
                  <a:pt x="246578" y="23924"/>
                </a:cubicBezTo>
                <a:lnTo>
                  <a:pt x="247054" y="24117"/>
                </a:lnTo>
                <a:lnTo>
                  <a:pt x="247054" y="24118"/>
                </a:lnTo>
                <a:lnTo>
                  <a:pt x="221718" y="50336"/>
                </a:lnTo>
                <a:cubicBezTo>
                  <a:pt x="221880" y="52513"/>
                  <a:pt x="221880" y="54683"/>
                  <a:pt x="221880" y="56813"/>
                </a:cubicBezTo>
                <a:cubicBezTo>
                  <a:pt x="221880" y="123641"/>
                  <a:pt x="170979" y="200806"/>
                  <a:pt x="77815" y="200806"/>
                </a:cubicBezTo>
                <a:cubicBezTo>
                  <a:pt x="49101" y="200806"/>
                  <a:pt x="22521" y="192406"/>
                  <a:pt x="0" y="178046"/>
                </a:cubicBezTo>
                <a:cubicBezTo>
                  <a:pt x="4030" y="178533"/>
                  <a:pt x="8045" y="178726"/>
                  <a:pt x="12067" y="178726"/>
                </a:cubicBezTo>
                <a:cubicBezTo>
                  <a:pt x="35676" y="178726"/>
                  <a:pt x="57586" y="170650"/>
                  <a:pt x="74872" y="157101"/>
                </a:cubicBezTo>
                <a:cubicBezTo>
                  <a:pt x="52638" y="156661"/>
                  <a:pt x="33985" y="142024"/>
                  <a:pt x="27469" y="121919"/>
                </a:cubicBezTo>
                <a:cubicBezTo>
                  <a:pt x="30565" y="122491"/>
                  <a:pt x="33669" y="122807"/>
                  <a:pt x="36919" y="122807"/>
                </a:cubicBezTo>
                <a:cubicBezTo>
                  <a:pt x="41498" y="122807"/>
                  <a:pt x="46006" y="122158"/>
                  <a:pt x="50229" y="121039"/>
                </a:cubicBezTo>
                <a:cubicBezTo>
                  <a:pt x="27068" y="116377"/>
                  <a:pt x="9619" y="95902"/>
                  <a:pt x="9619" y="71343"/>
                </a:cubicBezTo>
                <a:lnTo>
                  <a:pt x="9619" y="70733"/>
                </a:lnTo>
                <a:cubicBezTo>
                  <a:pt x="16453" y="74509"/>
                  <a:pt x="24250" y="76801"/>
                  <a:pt x="32534" y="77041"/>
                </a:cubicBezTo>
                <a:cubicBezTo>
                  <a:pt x="18984" y="67962"/>
                  <a:pt x="10021" y="52521"/>
                  <a:pt x="10021" y="34911"/>
                </a:cubicBezTo>
                <a:cubicBezTo>
                  <a:pt x="10021" y="25499"/>
                  <a:pt x="12515" y="16853"/>
                  <a:pt x="16900" y="9410"/>
                </a:cubicBezTo>
                <a:cubicBezTo>
                  <a:pt x="41861" y="39967"/>
                  <a:pt x="79177" y="60195"/>
                  <a:pt x="121277" y="62164"/>
                </a:cubicBezTo>
                <a:cubicBezTo>
                  <a:pt x="120439" y="58504"/>
                  <a:pt x="119953" y="54644"/>
                  <a:pt x="119953" y="50622"/>
                </a:cubicBezTo>
                <a:cubicBezTo>
                  <a:pt x="119953" y="29661"/>
                  <a:pt x="132710" y="11666"/>
                  <a:pt x="150895" y="3979"/>
                </a:cubicBezTo>
                <a:close/>
              </a:path>
            </a:pathLst>
          </a:custGeom>
          <a:solidFill>
            <a:schemeClr val="bg1"/>
          </a:solidFill>
        </p:spPr>
        <p:txBody>
          <a:bodyPr wrap="square">
            <a:noAutofit/>
          </a:bodyPr>
          <a:lstStyle>
            <a:lvl1pPr marL="126000" indent="0">
              <a:buFontTx/>
              <a:buNone/>
              <a:defRPr sz="100">
                <a:noFill/>
              </a:defRPr>
            </a:lvl1pPr>
          </a:lstStyle>
          <a:p>
            <a:pPr lvl="0"/>
            <a:r>
              <a:rPr lang="en-GB"/>
              <a:t>Set text to 'No Fill'</a:t>
            </a:r>
          </a:p>
        </p:txBody>
      </p:sp>
      <p:sp>
        <p:nvSpPr>
          <p:cNvPr id="37" name="Text Placeholder 36">
            <a:extLst>
              <a:ext uri="{FF2B5EF4-FFF2-40B4-BE49-F238E27FC236}">
                <a16:creationId xmlns:a16="http://schemas.microsoft.com/office/drawing/2014/main" id="{0F45777E-F94E-1A75-EED7-EAD06B5C0354}"/>
              </a:ext>
            </a:extLst>
          </p:cNvPr>
          <p:cNvSpPr>
            <a:spLocks noGrp="1"/>
          </p:cNvSpPr>
          <p:nvPr>
            <p:ph type="body" sz="quarter" idx="23" hasCustomPrompt="1"/>
          </p:nvPr>
        </p:nvSpPr>
        <p:spPr bwMode="white">
          <a:xfrm>
            <a:off x="1579361" y="6341042"/>
            <a:ext cx="247049" cy="245530"/>
          </a:xfrm>
          <a:custGeom>
            <a:avLst/>
            <a:gdLst>
              <a:gd name="connsiteX0" fmla="*/ 247049 w 247049"/>
              <a:gd name="connsiteY0" fmla="*/ 123517 h 245530"/>
              <a:gd name="connsiteX1" fmla="*/ 247049 w 247049"/>
              <a:gd name="connsiteY1" fmla="*/ 123526 h 245530"/>
              <a:gd name="connsiteX2" fmla="*/ 247048 w 247049"/>
              <a:gd name="connsiteY2" fmla="*/ 123522 h 245530"/>
              <a:gd name="connsiteX3" fmla="*/ 123514 w 247049"/>
              <a:gd name="connsiteY3" fmla="*/ 0 h 245530"/>
              <a:gd name="connsiteX4" fmla="*/ 123524 w 247049"/>
              <a:gd name="connsiteY4" fmla="*/ 0 h 245530"/>
              <a:gd name="connsiteX5" fmla="*/ 171592 w 247049"/>
              <a:gd name="connsiteY5" fmla="*/ 9704 h 245530"/>
              <a:gd name="connsiteX6" fmla="*/ 237338 w 247049"/>
              <a:gd name="connsiteY6" fmla="*/ 75436 h 245530"/>
              <a:gd name="connsiteX7" fmla="*/ 247048 w 247049"/>
              <a:gd name="connsiteY7" fmla="*/ 123522 h 245530"/>
              <a:gd name="connsiteX8" fmla="*/ 239063 w 247049"/>
              <a:gd name="connsiteY8" fmla="*/ 167283 h 245530"/>
              <a:gd name="connsiteX9" fmla="*/ 142826 w 247049"/>
              <a:gd name="connsiteY9" fmla="*/ 245523 h 245530"/>
              <a:gd name="connsiteX10" fmla="*/ 142826 w 247049"/>
              <a:gd name="connsiteY10" fmla="*/ 159232 h 245530"/>
              <a:gd name="connsiteX11" fmla="*/ 171573 w 247049"/>
              <a:gd name="connsiteY11" fmla="*/ 159232 h 245530"/>
              <a:gd name="connsiteX12" fmla="*/ 177078 w 247049"/>
              <a:gd name="connsiteY12" fmla="*/ 123526 h 245530"/>
              <a:gd name="connsiteX13" fmla="*/ 142826 w 247049"/>
              <a:gd name="connsiteY13" fmla="*/ 123526 h 245530"/>
              <a:gd name="connsiteX14" fmla="*/ 142826 w 247049"/>
              <a:gd name="connsiteY14" fmla="*/ 100364 h 245530"/>
              <a:gd name="connsiteX15" fmla="*/ 162924 w 247049"/>
              <a:gd name="connsiteY15" fmla="*/ 81063 h 245530"/>
              <a:gd name="connsiteX16" fmla="*/ 178526 w 247049"/>
              <a:gd name="connsiteY16" fmla="*/ 81063 h 245530"/>
              <a:gd name="connsiteX17" fmla="*/ 178526 w 247049"/>
              <a:gd name="connsiteY17" fmla="*/ 50668 h 245530"/>
              <a:gd name="connsiteX18" fmla="*/ 150866 w 247049"/>
              <a:gd name="connsiteY18" fmla="*/ 48259 h 245530"/>
              <a:gd name="connsiteX19" fmla="*/ 104222 w 247049"/>
              <a:gd name="connsiteY19" fmla="*/ 96303 h 245530"/>
              <a:gd name="connsiteX20" fmla="*/ 104222 w 247049"/>
              <a:gd name="connsiteY20" fmla="*/ 123533 h 245530"/>
              <a:gd name="connsiteX21" fmla="*/ 72856 w 247049"/>
              <a:gd name="connsiteY21" fmla="*/ 123533 h 245530"/>
              <a:gd name="connsiteX22" fmla="*/ 72856 w 247049"/>
              <a:gd name="connsiteY22" fmla="*/ 159240 h 245530"/>
              <a:gd name="connsiteX23" fmla="*/ 104222 w 247049"/>
              <a:gd name="connsiteY23" fmla="*/ 159240 h 245530"/>
              <a:gd name="connsiteX24" fmla="*/ 104222 w 247049"/>
              <a:gd name="connsiteY24" fmla="*/ 245530 h 245530"/>
              <a:gd name="connsiteX25" fmla="*/ 7978 w 247049"/>
              <a:gd name="connsiteY25" fmla="*/ 167292 h 245530"/>
              <a:gd name="connsiteX26" fmla="*/ 0 w 247049"/>
              <a:gd name="connsiteY26" fmla="*/ 123532 h 245530"/>
              <a:gd name="connsiteX27" fmla="*/ 0 w 247049"/>
              <a:gd name="connsiteY27" fmla="*/ 123521 h 245530"/>
              <a:gd name="connsiteX28" fmla="*/ 9703 w 247049"/>
              <a:gd name="connsiteY28" fmla="*/ 75436 h 245530"/>
              <a:gd name="connsiteX29" fmla="*/ 75432 w 247049"/>
              <a:gd name="connsiteY29" fmla="*/ 9704 h 245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47049" h="245530">
                <a:moveTo>
                  <a:pt x="247049" y="123517"/>
                </a:moveTo>
                <a:lnTo>
                  <a:pt x="247049" y="123526"/>
                </a:lnTo>
                <a:lnTo>
                  <a:pt x="247048" y="123522"/>
                </a:lnTo>
                <a:close/>
                <a:moveTo>
                  <a:pt x="123514" y="0"/>
                </a:moveTo>
                <a:lnTo>
                  <a:pt x="123524" y="0"/>
                </a:lnTo>
                <a:lnTo>
                  <a:pt x="171592" y="9704"/>
                </a:lnTo>
                <a:cubicBezTo>
                  <a:pt x="201148" y="22203"/>
                  <a:pt x="224832" y="45877"/>
                  <a:pt x="237338" y="75436"/>
                </a:cubicBezTo>
                <a:lnTo>
                  <a:pt x="247048" y="123522"/>
                </a:lnTo>
                <a:lnTo>
                  <a:pt x="239063" y="167283"/>
                </a:lnTo>
                <a:cubicBezTo>
                  <a:pt x="223583" y="208096"/>
                  <a:pt x="187089" y="238581"/>
                  <a:pt x="142826" y="245523"/>
                </a:cubicBezTo>
                <a:lnTo>
                  <a:pt x="142826" y="159232"/>
                </a:lnTo>
                <a:lnTo>
                  <a:pt x="171573" y="159232"/>
                </a:lnTo>
                <a:lnTo>
                  <a:pt x="177078" y="123526"/>
                </a:lnTo>
                <a:lnTo>
                  <a:pt x="142826" y="123526"/>
                </a:lnTo>
                <a:lnTo>
                  <a:pt x="142826" y="100364"/>
                </a:lnTo>
                <a:cubicBezTo>
                  <a:pt x="142826" y="90598"/>
                  <a:pt x="147608" y="81063"/>
                  <a:pt x="162924" y="81063"/>
                </a:cubicBezTo>
                <a:lnTo>
                  <a:pt x="178526" y="81063"/>
                </a:lnTo>
                <a:lnTo>
                  <a:pt x="178526" y="50668"/>
                </a:lnTo>
                <a:cubicBezTo>
                  <a:pt x="178526" y="50668"/>
                  <a:pt x="164382" y="48259"/>
                  <a:pt x="150866" y="48259"/>
                </a:cubicBezTo>
                <a:cubicBezTo>
                  <a:pt x="122633" y="48259"/>
                  <a:pt x="104222" y="65352"/>
                  <a:pt x="104222" y="96303"/>
                </a:cubicBezTo>
                <a:lnTo>
                  <a:pt x="104222" y="123533"/>
                </a:lnTo>
                <a:lnTo>
                  <a:pt x="72856" y="123533"/>
                </a:lnTo>
                <a:lnTo>
                  <a:pt x="72856" y="159240"/>
                </a:lnTo>
                <a:lnTo>
                  <a:pt x="104222" y="159240"/>
                </a:lnTo>
                <a:lnTo>
                  <a:pt x="104222" y="245530"/>
                </a:lnTo>
                <a:cubicBezTo>
                  <a:pt x="59923" y="238588"/>
                  <a:pt x="23447" y="208104"/>
                  <a:pt x="7978" y="167292"/>
                </a:cubicBezTo>
                <a:lnTo>
                  <a:pt x="0" y="123532"/>
                </a:lnTo>
                <a:lnTo>
                  <a:pt x="0" y="123521"/>
                </a:lnTo>
                <a:lnTo>
                  <a:pt x="9703" y="75436"/>
                </a:lnTo>
                <a:cubicBezTo>
                  <a:pt x="22201" y="45877"/>
                  <a:pt x="45874" y="22203"/>
                  <a:pt x="75432" y="9704"/>
                </a:cubicBezTo>
                <a:close/>
              </a:path>
            </a:pathLst>
          </a:custGeom>
          <a:solidFill>
            <a:schemeClr val="bg1"/>
          </a:solidFill>
        </p:spPr>
        <p:txBody>
          <a:bodyPr wrap="square">
            <a:noAutofit/>
          </a:bodyPr>
          <a:lstStyle>
            <a:lvl1pPr marL="126000" indent="0">
              <a:buFontTx/>
              <a:buNone/>
              <a:defRPr sz="100">
                <a:noFill/>
              </a:defRPr>
            </a:lvl1pPr>
          </a:lstStyle>
          <a:p>
            <a:pPr lvl="0"/>
            <a:r>
              <a:rPr lang="en-GB"/>
              <a:t>Set text to 'No Fill'</a:t>
            </a:r>
          </a:p>
        </p:txBody>
      </p:sp>
      <p:sp>
        <p:nvSpPr>
          <p:cNvPr id="38" name="Subtitle 2">
            <a:extLst>
              <a:ext uri="{FF2B5EF4-FFF2-40B4-BE49-F238E27FC236}">
                <a16:creationId xmlns:a16="http://schemas.microsoft.com/office/drawing/2014/main" id="{8D5E24C3-248F-E7EB-209F-2E9F2BF451E1}"/>
              </a:ext>
            </a:extLst>
          </p:cNvPr>
          <p:cNvSpPr>
            <a:spLocks noGrp="1"/>
          </p:cNvSpPr>
          <p:nvPr>
            <p:ph type="subTitle" idx="1" hasCustomPrompt="1"/>
          </p:nvPr>
        </p:nvSpPr>
        <p:spPr bwMode="white">
          <a:xfrm>
            <a:off x="269875" y="5122070"/>
            <a:ext cx="1971675" cy="578644"/>
          </a:xfrm>
        </p:spPr>
        <p:txBody>
          <a:bodyPr tIns="0"/>
          <a:lstStyle>
            <a:lvl1pPr marL="0" indent="0" algn="l">
              <a:lnSpc>
                <a:spcPct val="120000"/>
              </a:lnSpc>
              <a:spcBef>
                <a:spcPts val="0"/>
              </a:spcBef>
              <a:spcAft>
                <a:spcPts val="0"/>
              </a:spcAft>
              <a:buFont typeface="DFDS Sans" panose="00000500000000000000" pitchFamily="2" charset="0"/>
              <a:buChar char="​"/>
              <a:defRPr sz="1050" b="0">
                <a:solidFill>
                  <a:schemeClr val="bg1"/>
                </a:solidFill>
              </a:defRPr>
            </a:lvl1pPr>
            <a:lvl2pPr marL="0" indent="0" algn="l">
              <a:lnSpc>
                <a:spcPct val="120000"/>
              </a:lnSpc>
              <a:spcAft>
                <a:spcPts val="0"/>
              </a:spcAft>
              <a:buFont typeface="DFDS Sans" panose="00000500000000000000" pitchFamily="2" charset="0"/>
              <a:buChar char="​"/>
              <a:defRPr sz="1050" b="0">
                <a:solidFill>
                  <a:schemeClr val="bg1"/>
                </a:solidFill>
              </a:defRPr>
            </a:lvl2pPr>
            <a:lvl3pPr marL="0" indent="0" algn="l">
              <a:lnSpc>
                <a:spcPct val="120000"/>
              </a:lnSpc>
              <a:spcAft>
                <a:spcPts val="0"/>
              </a:spcAft>
              <a:buFont typeface="DFDS Sans" panose="00000500000000000000" pitchFamily="2" charset="0"/>
              <a:buChar char="​"/>
              <a:defRPr sz="1050" b="0">
                <a:solidFill>
                  <a:schemeClr val="bg1"/>
                </a:solidFill>
              </a:defRPr>
            </a:lvl3pPr>
            <a:lvl4pPr marL="0" indent="0" algn="l">
              <a:lnSpc>
                <a:spcPct val="120000"/>
              </a:lnSpc>
              <a:spcAft>
                <a:spcPts val="0"/>
              </a:spcAft>
              <a:buFont typeface="DFDS Sans" panose="00000500000000000000" pitchFamily="2" charset="0"/>
              <a:buChar char="​"/>
              <a:defRPr sz="1050" b="0">
                <a:solidFill>
                  <a:schemeClr val="bg1"/>
                </a:solidFill>
              </a:defRPr>
            </a:lvl4pPr>
            <a:lvl5pPr marL="0" indent="0" algn="l">
              <a:lnSpc>
                <a:spcPct val="120000"/>
              </a:lnSpc>
              <a:spcAft>
                <a:spcPts val="0"/>
              </a:spcAft>
              <a:buFont typeface="DFDS Sans" panose="00000500000000000000" pitchFamily="2" charset="0"/>
              <a:buChar char="​"/>
              <a:defRPr sz="1050" b="0">
                <a:solidFill>
                  <a:schemeClr val="bg1"/>
                </a:solidFill>
              </a:defRPr>
            </a:lvl5pPr>
            <a:lvl6pPr marL="0" indent="0" algn="l">
              <a:lnSpc>
                <a:spcPct val="120000"/>
              </a:lnSpc>
              <a:spcAft>
                <a:spcPts val="0"/>
              </a:spcAft>
              <a:buFont typeface="DFDS Sans" panose="00000500000000000000" pitchFamily="2" charset="0"/>
              <a:buChar char="​"/>
              <a:defRPr sz="1050" b="0">
                <a:solidFill>
                  <a:schemeClr val="bg1"/>
                </a:solidFill>
              </a:defRPr>
            </a:lvl6pPr>
            <a:lvl7pPr marL="0" indent="0" algn="l">
              <a:lnSpc>
                <a:spcPct val="120000"/>
              </a:lnSpc>
              <a:spcAft>
                <a:spcPts val="0"/>
              </a:spcAft>
              <a:buFont typeface="DFDS Sans" panose="00000500000000000000" pitchFamily="2" charset="0"/>
              <a:buChar char="​"/>
              <a:defRPr sz="1050" b="0">
                <a:solidFill>
                  <a:schemeClr val="bg1"/>
                </a:solidFill>
              </a:defRPr>
            </a:lvl7pPr>
            <a:lvl8pPr marL="0" indent="0" algn="l">
              <a:lnSpc>
                <a:spcPct val="120000"/>
              </a:lnSpc>
              <a:spcAft>
                <a:spcPts val="0"/>
              </a:spcAft>
              <a:buFont typeface="DFDS Sans" panose="00000500000000000000" pitchFamily="2" charset="0"/>
              <a:buChar char="​"/>
              <a:defRPr sz="1050" b="0">
                <a:solidFill>
                  <a:schemeClr val="bg1"/>
                </a:solidFill>
              </a:defRPr>
            </a:lvl8pPr>
            <a:lvl9pPr marL="0" indent="0" algn="l">
              <a:lnSpc>
                <a:spcPct val="120000"/>
              </a:lnSpc>
              <a:spcAft>
                <a:spcPts val="0"/>
              </a:spcAft>
              <a:buFont typeface="DFDS Sans" panose="00000500000000000000" pitchFamily="2" charset="0"/>
              <a:buChar char="​"/>
              <a:defRPr sz="1050" b="0">
                <a:solidFill>
                  <a:schemeClr val="bg1"/>
                </a:solidFill>
              </a:defRPr>
            </a:lvl9pPr>
          </a:lstStyle>
          <a:p>
            <a:pPr lvl="0"/>
            <a:r>
              <a:rPr lang="en-GB"/>
              <a:t>Name Surname</a:t>
            </a:r>
            <a:br>
              <a:rPr lang="en-GB"/>
            </a:br>
            <a:r>
              <a:rPr lang="en-GB"/>
              <a:t>email@dfds.dk</a:t>
            </a:r>
            <a:br>
              <a:rPr lang="en-GB"/>
            </a:br>
            <a:r>
              <a:rPr lang="en-GB"/>
              <a:t>+45 1234 5678</a:t>
            </a:r>
          </a:p>
          <a:p>
            <a:pPr lvl="1"/>
            <a:endParaRPr lang="en-GB"/>
          </a:p>
        </p:txBody>
      </p:sp>
      <p:sp>
        <p:nvSpPr>
          <p:cNvPr id="44" name="Text Placeholder 43">
            <a:extLst>
              <a:ext uri="{FF2B5EF4-FFF2-40B4-BE49-F238E27FC236}">
                <a16:creationId xmlns:a16="http://schemas.microsoft.com/office/drawing/2014/main" id="{B2489D71-12AB-1BA3-037D-FC106ED9927B}"/>
              </a:ext>
            </a:extLst>
          </p:cNvPr>
          <p:cNvSpPr>
            <a:spLocks noGrp="1"/>
          </p:cNvSpPr>
          <p:nvPr>
            <p:ph type="body" sz="quarter" idx="24" hasCustomPrompt="1"/>
          </p:nvPr>
        </p:nvSpPr>
        <p:spPr bwMode="white">
          <a:xfrm>
            <a:off x="271115" y="5928134"/>
            <a:ext cx="473982" cy="100278"/>
          </a:xfrm>
          <a:custGeom>
            <a:avLst/>
            <a:gdLst>
              <a:gd name="connsiteX0" fmla="*/ 299484 w 473982"/>
              <a:gd name="connsiteY0" fmla="*/ 83743 h 100278"/>
              <a:gd name="connsiteX1" fmla="*/ 305351 w 473982"/>
              <a:gd name="connsiteY1" fmla="*/ 86076 h 100278"/>
              <a:gd name="connsiteX2" fmla="*/ 307752 w 473982"/>
              <a:gd name="connsiteY2" fmla="*/ 92010 h 100278"/>
              <a:gd name="connsiteX3" fmla="*/ 305351 w 473982"/>
              <a:gd name="connsiteY3" fmla="*/ 97811 h 100278"/>
              <a:gd name="connsiteX4" fmla="*/ 299484 w 473982"/>
              <a:gd name="connsiteY4" fmla="*/ 100145 h 100278"/>
              <a:gd name="connsiteX5" fmla="*/ 293683 w 473982"/>
              <a:gd name="connsiteY5" fmla="*/ 97811 h 100278"/>
              <a:gd name="connsiteX6" fmla="*/ 291350 w 473982"/>
              <a:gd name="connsiteY6" fmla="*/ 92010 h 100278"/>
              <a:gd name="connsiteX7" fmla="*/ 293683 w 473982"/>
              <a:gd name="connsiteY7" fmla="*/ 86076 h 100278"/>
              <a:gd name="connsiteX8" fmla="*/ 299484 w 473982"/>
              <a:gd name="connsiteY8" fmla="*/ 83743 h 100278"/>
              <a:gd name="connsiteX9" fmla="*/ 357986 w 473982"/>
              <a:gd name="connsiteY9" fmla="*/ 38137 h 100278"/>
              <a:gd name="connsiteX10" fmla="*/ 345985 w 473982"/>
              <a:gd name="connsiteY10" fmla="*/ 41404 h 100278"/>
              <a:gd name="connsiteX11" fmla="*/ 337584 w 473982"/>
              <a:gd name="connsiteY11" fmla="*/ 50672 h 100278"/>
              <a:gd name="connsiteX12" fmla="*/ 334517 w 473982"/>
              <a:gd name="connsiteY12" fmla="*/ 64540 h 100278"/>
              <a:gd name="connsiteX13" fmla="*/ 337584 w 473982"/>
              <a:gd name="connsiteY13" fmla="*/ 78609 h 100278"/>
              <a:gd name="connsiteX14" fmla="*/ 345985 w 473982"/>
              <a:gd name="connsiteY14" fmla="*/ 87943 h 100278"/>
              <a:gd name="connsiteX15" fmla="*/ 357986 w 473982"/>
              <a:gd name="connsiteY15" fmla="*/ 91210 h 100278"/>
              <a:gd name="connsiteX16" fmla="*/ 369921 w 473982"/>
              <a:gd name="connsiteY16" fmla="*/ 88010 h 100278"/>
              <a:gd name="connsiteX17" fmla="*/ 378389 w 473982"/>
              <a:gd name="connsiteY17" fmla="*/ 78742 h 100278"/>
              <a:gd name="connsiteX18" fmla="*/ 381456 w 473982"/>
              <a:gd name="connsiteY18" fmla="*/ 64540 h 100278"/>
              <a:gd name="connsiteX19" fmla="*/ 378389 w 473982"/>
              <a:gd name="connsiteY19" fmla="*/ 50539 h 100278"/>
              <a:gd name="connsiteX20" fmla="*/ 369921 w 473982"/>
              <a:gd name="connsiteY20" fmla="*/ 41337 h 100278"/>
              <a:gd name="connsiteX21" fmla="*/ 357986 w 473982"/>
              <a:gd name="connsiteY21" fmla="*/ 38137 h 100278"/>
              <a:gd name="connsiteX22" fmla="*/ 167486 w 473982"/>
              <a:gd name="connsiteY22" fmla="*/ 38137 h 100278"/>
              <a:gd name="connsiteX23" fmla="*/ 155485 w 473982"/>
              <a:gd name="connsiteY23" fmla="*/ 41404 h 100278"/>
              <a:gd name="connsiteX24" fmla="*/ 147084 w 473982"/>
              <a:gd name="connsiteY24" fmla="*/ 50672 h 100278"/>
              <a:gd name="connsiteX25" fmla="*/ 144017 w 473982"/>
              <a:gd name="connsiteY25" fmla="*/ 64540 h 100278"/>
              <a:gd name="connsiteX26" fmla="*/ 147084 w 473982"/>
              <a:gd name="connsiteY26" fmla="*/ 78609 h 100278"/>
              <a:gd name="connsiteX27" fmla="*/ 155485 w 473982"/>
              <a:gd name="connsiteY27" fmla="*/ 87943 h 100278"/>
              <a:gd name="connsiteX28" fmla="*/ 167486 w 473982"/>
              <a:gd name="connsiteY28" fmla="*/ 91210 h 100278"/>
              <a:gd name="connsiteX29" fmla="*/ 179421 w 473982"/>
              <a:gd name="connsiteY29" fmla="*/ 88010 h 100278"/>
              <a:gd name="connsiteX30" fmla="*/ 187889 w 473982"/>
              <a:gd name="connsiteY30" fmla="*/ 78742 h 100278"/>
              <a:gd name="connsiteX31" fmla="*/ 190956 w 473982"/>
              <a:gd name="connsiteY31" fmla="*/ 64540 h 100278"/>
              <a:gd name="connsiteX32" fmla="*/ 187889 w 473982"/>
              <a:gd name="connsiteY32" fmla="*/ 50539 h 100278"/>
              <a:gd name="connsiteX33" fmla="*/ 179421 w 473982"/>
              <a:gd name="connsiteY33" fmla="*/ 41337 h 100278"/>
              <a:gd name="connsiteX34" fmla="*/ 167486 w 473982"/>
              <a:gd name="connsiteY34" fmla="*/ 38137 h 100278"/>
              <a:gd name="connsiteX35" fmla="*/ 34136 w 473982"/>
              <a:gd name="connsiteY35" fmla="*/ 38137 h 100278"/>
              <a:gd name="connsiteX36" fmla="*/ 22135 w 473982"/>
              <a:gd name="connsiteY36" fmla="*/ 41404 h 100278"/>
              <a:gd name="connsiteX37" fmla="*/ 13734 w 473982"/>
              <a:gd name="connsiteY37" fmla="*/ 50672 h 100278"/>
              <a:gd name="connsiteX38" fmla="*/ 10667 w 473982"/>
              <a:gd name="connsiteY38" fmla="*/ 64540 h 100278"/>
              <a:gd name="connsiteX39" fmla="*/ 13734 w 473982"/>
              <a:gd name="connsiteY39" fmla="*/ 78609 h 100278"/>
              <a:gd name="connsiteX40" fmla="*/ 22135 w 473982"/>
              <a:gd name="connsiteY40" fmla="*/ 87943 h 100278"/>
              <a:gd name="connsiteX41" fmla="*/ 34136 w 473982"/>
              <a:gd name="connsiteY41" fmla="*/ 91210 h 100278"/>
              <a:gd name="connsiteX42" fmla="*/ 46071 w 473982"/>
              <a:gd name="connsiteY42" fmla="*/ 88010 h 100278"/>
              <a:gd name="connsiteX43" fmla="*/ 54539 w 473982"/>
              <a:gd name="connsiteY43" fmla="*/ 78742 h 100278"/>
              <a:gd name="connsiteX44" fmla="*/ 57606 w 473982"/>
              <a:gd name="connsiteY44" fmla="*/ 64540 h 100278"/>
              <a:gd name="connsiteX45" fmla="*/ 54539 w 473982"/>
              <a:gd name="connsiteY45" fmla="*/ 50539 h 100278"/>
              <a:gd name="connsiteX46" fmla="*/ 46071 w 473982"/>
              <a:gd name="connsiteY46" fmla="*/ 41337 h 100278"/>
              <a:gd name="connsiteX47" fmla="*/ 34136 w 473982"/>
              <a:gd name="connsiteY47" fmla="*/ 38137 h 100278"/>
              <a:gd name="connsiteX48" fmla="*/ 246277 w 473982"/>
              <a:gd name="connsiteY48" fmla="*/ 29069 h 100278"/>
              <a:gd name="connsiteX49" fmla="*/ 265413 w 473982"/>
              <a:gd name="connsiteY49" fmla="*/ 35003 h 100278"/>
              <a:gd name="connsiteX50" fmla="*/ 273881 w 473982"/>
              <a:gd name="connsiteY50" fmla="*/ 50138 h 100278"/>
              <a:gd name="connsiteX51" fmla="*/ 263613 w 473982"/>
              <a:gd name="connsiteY51" fmla="*/ 50138 h 100278"/>
              <a:gd name="connsiteX52" fmla="*/ 258412 w 473982"/>
              <a:gd name="connsiteY52" fmla="*/ 41271 h 100278"/>
              <a:gd name="connsiteX53" fmla="*/ 246277 w 473982"/>
              <a:gd name="connsiteY53" fmla="*/ 37870 h 100278"/>
              <a:gd name="connsiteX54" fmla="*/ 234942 w 473982"/>
              <a:gd name="connsiteY54" fmla="*/ 40404 h 100278"/>
              <a:gd name="connsiteX55" fmla="*/ 230542 w 473982"/>
              <a:gd name="connsiteY55" fmla="*/ 48005 h 100278"/>
              <a:gd name="connsiteX56" fmla="*/ 241077 w 473982"/>
              <a:gd name="connsiteY56" fmla="*/ 57473 h 100278"/>
              <a:gd name="connsiteX57" fmla="*/ 254145 w 473982"/>
              <a:gd name="connsiteY57" fmla="*/ 60140 h 100278"/>
              <a:gd name="connsiteX58" fmla="*/ 274547 w 473982"/>
              <a:gd name="connsiteY58" fmla="*/ 79876 h 100278"/>
              <a:gd name="connsiteX59" fmla="*/ 266880 w 473982"/>
              <a:gd name="connsiteY59" fmla="*/ 95144 h 100278"/>
              <a:gd name="connsiteX60" fmla="*/ 248011 w 473982"/>
              <a:gd name="connsiteY60" fmla="*/ 100278 h 100278"/>
              <a:gd name="connsiteX61" fmla="*/ 227808 w 473982"/>
              <a:gd name="connsiteY61" fmla="*/ 93944 h 100278"/>
              <a:gd name="connsiteX62" fmla="*/ 218807 w 473982"/>
              <a:gd name="connsiteY62" fmla="*/ 77209 h 100278"/>
              <a:gd name="connsiteX63" fmla="*/ 229075 w 473982"/>
              <a:gd name="connsiteY63" fmla="*/ 77209 h 100278"/>
              <a:gd name="connsiteX64" fmla="*/ 235142 w 473982"/>
              <a:gd name="connsiteY64" fmla="*/ 87543 h 100278"/>
              <a:gd name="connsiteX65" fmla="*/ 247877 w 473982"/>
              <a:gd name="connsiteY65" fmla="*/ 91344 h 100278"/>
              <a:gd name="connsiteX66" fmla="*/ 259546 w 473982"/>
              <a:gd name="connsiteY66" fmla="*/ 88410 h 100278"/>
              <a:gd name="connsiteX67" fmla="*/ 264413 w 473982"/>
              <a:gd name="connsiteY67" fmla="*/ 79876 h 100278"/>
              <a:gd name="connsiteX68" fmla="*/ 261346 w 473982"/>
              <a:gd name="connsiteY68" fmla="*/ 73208 h 100278"/>
              <a:gd name="connsiteX69" fmla="*/ 252411 w 473982"/>
              <a:gd name="connsiteY69" fmla="*/ 69474 h 100278"/>
              <a:gd name="connsiteX70" fmla="*/ 239076 w 473982"/>
              <a:gd name="connsiteY70" fmla="*/ 66807 h 100278"/>
              <a:gd name="connsiteX71" fmla="*/ 225208 w 473982"/>
              <a:gd name="connsiteY71" fmla="*/ 60473 h 100278"/>
              <a:gd name="connsiteX72" fmla="*/ 220274 w 473982"/>
              <a:gd name="connsiteY72" fmla="*/ 48272 h 100278"/>
              <a:gd name="connsiteX73" fmla="*/ 227742 w 473982"/>
              <a:gd name="connsiteY73" fmla="*/ 33936 h 100278"/>
              <a:gd name="connsiteX74" fmla="*/ 246277 w 473982"/>
              <a:gd name="connsiteY74" fmla="*/ 29069 h 100278"/>
              <a:gd name="connsiteX75" fmla="*/ 424909 w 473982"/>
              <a:gd name="connsiteY75" fmla="*/ 132 h 100278"/>
              <a:gd name="connsiteX76" fmla="*/ 424909 w 473982"/>
              <a:gd name="connsiteY76" fmla="*/ 64007 h 100278"/>
              <a:gd name="connsiteX77" fmla="*/ 459847 w 473982"/>
              <a:gd name="connsiteY77" fmla="*/ 30536 h 100278"/>
              <a:gd name="connsiteX78" fmla="*/ 472648 w 473982"/>
              <a:gd name="connsiteY78" fmla="*/ 30536 h 100278"/>
              <a:gd name="connsiteX79" fmla="*/ 446112 w 473982"/>
              <a:gd name="connsiteY79" fmla="*/ 59340 h 100278"/>
              <a:gd name="connsiteX80" fmla="*/ 473982 w 473982"/>
              <a:gd name="connsiteY80" fmla="*/ 98811 h 100278"/>
              <a:gd name="connsiteX81" fmla="*/ 461714 w 473982"/>
              <a:gd name="connsiteY81" fmla="*/ 98811 h 100278"/>
              <a:gd name="connsiteX82" fmla="*/ 438644 w 473982"/>
              <a:gd name="connsiteY82" fmla="*/ 65607 h 100278"/>
              <a:gd name="connsiteX83" fmla="*/ 427176 w 473982"/>
              <a:gd name="connsiteY83" fmla="*/ 74542 h 100278"/>
              <a:gd name="connsiteX84" fmla="*/ 424909 w 473982"/>
              <a:gd name="connsiteY84" fmla="*/ 76142 h 100278"/>
              <a:gd name="connsiteX85" fmla="*/ 424909 w 473982"/>
              <a:gd name="connsiteY85" fmla="*/ 98811 h 100278"/>
              <a:gd name="connsiteX86" fmla="*/ 414641 w 473982"/>
              <a:gd name="connsiteY86" fmla="*/ 98811 h 100278"/>
              <a:gd name="connsiteX87" fmla="*/ 414641 w 473982"/>
              <a:gd name="connsiteY87" fmla="*/ 1732 h 100278"/>
              <a:gd name="connsiteX88" fmla="*/ 391057 w 473982"/>
              <a:gd name="connsiteY88" fmla="*/ 132 h 100278"/>
              <a:gd name="connsiteX89" fmla="*/ 391057 w 473982"/>
              <a:gd name="connsiteY89" fmla="*/ 98811 h 100278"/>
              <a:gd name="connsiteX90" fmla="*/ 384256 w 473982"/>
              <a:gd name="connsiteY90" fmla="*/ 98811 h 100278"/>
              <a:gd name="connsiteX91" fmla="*/ 380789 w 473982"/>
              <a:gd name="connsiteY91" fmla="*/ 87476 h 100278"/>
              <a:gd name="connsiteX92" fmla="*/ 379989 w 473982"/>
              <a:gd name="connsiteY92" fmla="*/ 87476 h 100278"/>
              <a:gd name="connsiteX93" fmla="*/ 369788 w 473982"/>
              <a:gd name="connsiteY93" fmla="*/ 96944 h 100278"/>
              <a:gd name="connsiteX94" fmla="*/ 355853 w 473982"/>
              <a:gd name="connsiteY94" fmla="*/ 100278 h 100278"/>
              <a:gd name="connsiteX95" fmla="*/ 339517 w 473982"/>
              <a:gd name="connsiteY95" fmla="*/ 95611 h 100278"/>
              <a:gd name="connsiteX96" fmla="*/ 328049 w 473982"/>
              <a:gd name="connsiteY96" fmla="*/ 82809 h 100278"/>
              <a:gd name="connsiteX97" fmla="*/ 323849 w 473982"/>
              <a:gd name="connsiteY97" fmla="*/ 64540 h 100278"/>
              <a:gd name="connsiteX98" fmla="*/ 328049 w 473982"/>
              <a:gd name="connsiteY98" fmla="*/ 46405 h 100278"/>
              <a:gd name="connsiteX99" fmla="*/ 339517 w 473982"/>
              <a:gd name="connsiteY99" fmla="*/ 33670 h 100278"/>
              <a:gd name="connsiteX100" fmla="*/ 355853 w 473982"/>
              <a:gd name="connsiteY100" fmla="*/ 29069 h 100278"/>
              <a:gd name="connsiteX101" fmla="*/ 369788 w 473982"/>
              <a:gd name="connsiteY101" fmla="*/ 32403 h 100278"/>
              <a:gd name="connsiteX102" fmla="*/ 379989 w 473982"/>
              <a:gd name="connsiteY102" fmla="*/ 41871 h 100278"/>
              <a:gd name="connsiteX103" fmla="*/ 380789 w 473982"/>
              <a:gd name="connsiteY103" fmla="*/ 41871 h 100278"/>
              <a:gd name="connsiteX104" fmla="*/ 380789 w 473982"/>
              <a:gd name="connsiteY104" fmla="*/ 1732 h 100278"/>
              <a:gd name="connsiteX105" fmla="*/ 200557 w 473982"/>
              <a:gd name="connsiteY105" fmla="*/ 132 h 100278"/>
              <a:gd name="connsiteX106" fmla="*/ 200557 w 473982"/>
              <a:gd name="connsiteY106" fmla="*/ 98811 h 100278"/>
              <a:gd name="connsiteX107" fmla="*/ 193756 w 473982"/>
              <a:gd name="connsiteY107" fmla="*/ 98811 h 100278"/>
              <a:gd name="connsiteX108" fmla="*/ 190289 w 473982"/>
              <a:gd name="connsiteY108" fmla="*/ 87476 h 100278"/>
              <a:gd name="connsiteX109" fmla="*/ 189489 w 473982"/>
              <a:gd name="connsiteY109" fmla="*/ 87476 h 100278"/>
              <a:gd name="connsiteX110" fmla="*/ 179288 w 473982"/>
              <a:gd name="connsiteY110" fmla="*/ 96944 h 100278"/>
              <a:gd name="connsiteX111" fmla="*/ 165353 w 473982"/>
              <a:gd name="connsiteY111" fmla="*/ 100278 h 100278"/>
              <a:gd name="connsiteX112" fmla="*/ 149017 w 473982"/>
              <a:gd name="connsiteY112" fmla="*/ 95611 h 100278"/>
              <a:gd name="connsiteX113" fmla="*/ 137549 w 473982"/>
              <a:gd name="connsiteY113" fmla="*/ 82809 h 100278"/>
              <a:gd name="connsiteX114" fmla="*/ 133349 w 473982"/>
              <a:gd name="connsiteY114" fmla="*/ 64540 h 100278"/>
              <a:gd name="connsiteX115" fmla="*/ 137549 w 473982"/>
              <a:gd name="connsiteY115" fmla="*/ 46405 h 100278"/>
              <a:gd name="connsiteX116" fmla="*/ 149017 w 473982"/>
              <a:gd name="connsiteY116" fmla="*/ 33670 h 100278"/>
              <a:gd name="connsiteX117" fmla="*/ 165353 w 473982"/>
              <a:gd name="connsiteY117" fmla="*/ 29069 h 100278"/>
              <a:gd name="connsiteX118" fmla="*/ 179288 w 473982"/>
              <a:gd name="connsiteY118" fmla="*/ 32403 h 100278"/>
              <a:gd name="connsiteX119" fmla="*/ 189489 w 473982"/>
              <a:gd name="connsiteY119" fmla="*/ 41871 h 100278"/>
              <a:gd name="connsiteX120" fmla="*/ 190289 w 473982"/>
              <a:gd name="connsiteY120" fmla="*/ 41871 h 100278"/>
              <a:gd name="connsiteX121" fmla="*/ 190289 w 473982"/>
              <a:gd name="connsiteY121" fmla="*/ 1732 h 100278"/>
              <a:gd name="connsiteX122" fmla="*/ 67207 w 473982"/>
              <a:gd name="connsiteY122" fmla="*/ 132 h 100278"/>
              <a:gd name="connsiteX123" fmla="*/ 67207 w 473982"/>
              <a:gd name="connsiteY123" fmla="*/ 98811 h 100278"/>
              <a:gd name="connsiteX124" fmla="*/ 60406 w 473982"/>
              <a:gd name="connsiteY124" fmla="*/ 98811 h 100278"/>
              <a:gd name="connsiteX125" fmla="*/ 56939 w 473982"/>
              <a:gd name="connsiteY125" fmla="*/ 87476 h 100278"/>
              <a:gd name="connsiteX126" fmla="*/ 56139 w 473982"/>
              <a:gd name="connsiteY126" fmla="*/ 87476 h 100278"/>
              <a:gd name="connsiteX127" fmla="*/ 45938 w 473982"/>
              <a:gd name="connsiteY127" fmla="*/ 96944 h 100278"/>
              <a:gd name="connsiteX128" fmla="*/ 32003 w 473982"/>
              <a:gd name="connsiteY128" fmla="*/ 100278 h 100278"/>
              <a:gd name="connsiteX129" fmla="*/ 15667 w 473982"/>
              <a:gd name="connsiteY129" fmla="*/ 95611 h 100278"/>
              <a:gd name="connsiteX130" fmla="*/ 4199 w 473982"/>
              <a:gd name="connsiteY130" fmla="*/ 82809 h 100278"/>
              <a:gd name="connsiteX131" fmla="*/ 0 w 473982"/>
              <a:gd name="connsiteY131" fmla="*/ 64545 h 100278"/>
              <a:gd name="connsiteX132" fmla="*/ 0 w 473982"/>
              <a:gd name="connsiteY132" fmla="*/ 64536 h 100278"/>
              <a:gd name="connsiteX133" fmla="*/ 4199 w 473982"/>
              <a:gd name="connsiteY133" fmla="*/ 46405 h 100278"/>
              <a:gd name="connsiteX134" fmla="*/ 15667 w 473982"/>
              <a:gd name="connsiteY134" fmla="*/ 33670 h 100278"/>
              <a:gd name="connsiteX135" fmla="*/ 32003 w 473982"/>
              <a:gd name="connsiteY135" fmla="*/ 29069 h 100278"/>
              <a:gd name="connsiteX136" fmla="*/ 45938 w 473982"/>
              <a:gd name="connsiteY136" fmla="*/ 32403 h 100278"/>
              <a:gd name="connsiteX137" fmla="*/ 56139 w 473982"/>
              <a:gd name="connsiteY137" fmla="*/ 41871 h 100278"/>
              <a:gd name="connsiteX138" fmla="*/ 56939 w 473982"/>
              <a:gd name="connsiteY138" fmla="*/ 41871 h 100278"/>
              <a:gd name="connsiteX139" fmla="*/ 56939 w 473982"/>
              <a:gd name="connsiteY139" fmla="*/ 1732 h 100278"/>
              <a:gd name="connsiteX140" fmla="*/ 114524 w 473982"/>
              <a:gd name="connsiteY140" fmla="*/ 0 h 100278"/>
              <a:gd name="connsiteX141" fmla="*/ 114533 w 473982"/>
              <a:gd name="connsiteY141" fmla="*/ 0 h 100278"/>
              <a:gd name="connsiteX142" fmla="*/ 124262 w 473982"/>
              <a:gd name="connsiteY142" fmla="*/ 1732 h 100278"/>
              <a:gd name="connsiteX143" fmla="*/ 124262 w 473982"/>
              <a:gd name="connsiteY143" fmla="*/ 10534 h 100278"/>
              <a:gd name="connsiteX144" fmla="*/ 116394 w 473982"/>
              <a:gd name="connsiteY144" fmla="*/ 9067 h 100278"/>
              <a:gd name="connsiteX145" fmla="*/ 104526 w 473982"/>
              <a:gd name="connsiteY145" fmla="*/ 21735 h 100278"/>
              <a:gd name="connsiteX146" fmla="*/ 104526 w 473982"/>
              <a:gd name="connsiteY146" fmla="*/ 30536 h 100278"/>
              <a:gd name="connsiteX147" fmla="*/ 124262 w 473982"/>
              <a:gd name="connsiteY147" fmla="*/ 30536 h 100278"/>
              <a:gd name="connsiteX148" fmla="*/ 124262 w 473982"/>
              <a:gd name="connsiteY148" fmla="*/ 39604 h 100278"/>
              <a:gd name="connsiteX149" fmla="*/ 104526 w 473982"/>
              <a:gd name="connsiteY149" fmla="*/ 39604 h 100278"/>
              <a:gd name="connsiteX150" fmla="*/ 104526 w 473982"/>
              <a:gd name="connsiteY150" fmla="*/ 98811 h 100278"/>
              <a:gd name="connsiteX151" fmla="*/ 94258 w 473982"/>
              <a:gd name="connsiteY151" fmla="*/ 98811 h 100278"/>
              <a:gd name="connsiteX152" fmla="*/ 94258 w 473982"/>
              <a:gd name="connsiteY152" fmla="*/ 39604 h 100278"/>
              <a:gd name="connsiteX153" fmla="*/ 81990 w 473982"/>
              <a:gd name="connsiteY153" fmla="*/ 39604 h 100278"/>
              <a:gd name="connsiteX154" fmla="*/ 81990 w 473982"/>
              <a:gd name="connsiteY154" fmla="*/ 30536 h 100278"/>
              <a:gd name="connsiteX155" fmla="*/ 94258 w 473982"/>
              <a:gd name="connsiteY155" fmla="*/ 30536 h 100278"/>
              <a:gd name="connsiteX156" fmla="*/ 94258 w 473982"/>
              <a:gd name="connsiteY156" fmla="*/ 21335 h 100278"/>
              <a:gd name="connsiteX157" fmla="*/ 99926 w 473982"/>
              <a:gd name="connsiteY157" fmla="*/ 5666 h 100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473982" h="100278">
                <a:moveTo>
                  <a:pt x="299484" y="83743"/>
                </a:moveTo>
                <a:cubicBezTo>
                  <a:pt x="301795" y="83743"/>
                  <a:pt x="303751" y="84521"/>
                  <a:pt x="305351" y="86076"/>
                </a:cubicBezTo>
                <a:cubicBezTo>
                  <a:pt x="306951" y="87632"/>
                  <a:pt x="307752" y="89610"/>
                  <a:pt x="307752" y="92010"/>
                </a:cubicBezTo>
                <a:cubicBezTo>
                  <a:pt x="307752" y="94322"/>
                  <a:pt x="306951" y="96255"/>
                  <a:pt x="305351" y="97811"/>
                </a:cubicBezTo>
                <a:cubicBezTo>
                  <a:pt x="303751" y="99367"/>
                  <a:pt x="301795" y="100145"/>
                  <a:pt x="299484" y="100145"/>
                </a:cubicBezTo>
                <a:cubicBezTo>
                  <a:pt x="297172" y="100145"/>
                  <a:pt x="295239" y="99367"/>
                  <a:pt x="293683" y="97811"/>
                </a:cubicBezTo>
                <a:cubicBezTo>
                  <a:pt x="292127" y="96255"/>
                  <a:pt x="291350" y="94322"/>
                  <a:pt x="291350" y="92010"/>
                </a:cubicBezTo>
                <a:cubicBezTo>
                  <a:pt x="291350" y="89610"/>
                  <a:pt x="292127" y="87632"/>
                  <a:pt x="293683" y="86076"/>
                </a:cubicBezTo>
                <a:cubicBezTo>
                  <a:pt x="295239" y="84521"/>
                  <a:pt x="297172" y="83743"/>
                  <a:pt x="299484" y="83743"/>
                </a:cubicBezTo>
                <a:close/>
                <a:moveTo>
                  <a:pt x="357986" y="38137"/>
                </a:moveTo>
                <a:cubicBezTo>
                  <a:pt x="353541" y="38137"/>
                  <a:pt x="349541" y="39226"/>
                  <a:pt x="345985" y="41404"/>
                </a:cubicBezTo>
                <a:cubicBezTo>
                  <a:pt x="342429" y="43582"/>
                  <a:pt x="339629" y="46671"/>
                  <a:pt x="337584" y="50672"/>
                </a:cubicBezTo>
                <a:cubicBezTo>
                  <a:pt x="335539" y="54672"/>
                  <a:pt x="334517" y="59295"/>
                  <a:pt x="334517" y="64540"/>
                </a:cubicBezTo>
                <a:cubicBezTo>
                  <a:pt x="334517" y="69874"/>
                  <a:pt x="335539" y="74564"/>
                  <a:pt x="337584" y="78609"/>
                </a:cubicBezTo>
                <a:cubicBezTo>
                  <a:pt x="339629" y="82654"/>
                  <a:pt x="342429" y="85765"/>
                  <a:pt x="345985" y="87943"/>
                </a:cubicBezTo>
                <a:cubicBezTo>
                  <a:pt x="349541" y="90121"/>
                  <a:pt x="353541" y="91210"/>
                  <a:pt x="357986" y="91210"/>
                </a:cubicBezTo>
                <a:cubicBezTo>
                  <a:pt x="362342" y="91210"/>
                  <a:pt x="366321" y="90143"/>
                  <a:pt x="369921" y="88010"/>
                </a:cubicBezTo>
                <a:cubicBezTo>
                  <a:pt x="373522" y="85876"/>
                  <a:pt x="376344" y="82787"/>
                  <a:pt x="378389" y="78742"/>
                </a:cubicBezTo>
                <a:cubicBezTo>
                  <a:pt x="380434" y="74697"/>
                  <a:pt x="381456" y="69963"/>
                  <a:pt x="381456" y="64540"/>
                </a:cubicBezTo>
                <a:cubicBezTo>
                  <a:pt x="381456" y="59206"/>
                  <a:pt x="380434" y="54539"/>
                  <a:pt x="378389" y="50539"/>
                </a:cubicBezTo>
                <a:cubicBezTo>
                  <a:pt x="376344" y="46538"/>
                  <a:pt x="373522" y="43471"/>
                  <a:pt x="369921" y="41337"/>
                </a:cubicBezTo>
                <a:cubicBezTo>
                  <a:pt x="366321" y="39204"/>
                  <a:pt x="362342" y="38137"/>
                  <a:pt x="357986" y="38137"/>
                </a:cubicBezTo>
                <a:close/>
                <a:moveTo>
                  <a:pt x="167486" y="38137"/>
                </a:moveTo>
                <a:cubicBezTo>
                  <a:pt x="163041" y="38137"/>
                  <a:pt x="159041" y="39226"/>
                  <a:pt x="155485" y="41404"/>
                </a:cubicBezTo>
                <a:cubicBezTo>
                  <a:pt x="151929" y="43582"/>
                  <a:pt x="149129" y="46671"/>
                  <a:pt x="147084" y="50672"/>
                </a:cubicBezTo>
                <a:cubicBezTo>
                  <a:pt x="145039" y="54672"/>
                  <a:pt x="144017" y="59295"/>
                  <a:pt x="144017" y="64540"/>
                </a:cubicBezTo>
                <a:cubicBezTo>
                  <a:pt x="144017" y="69874"/>
                  <a:pt x="145039" y="74564"/>
                  <a:pt x="147084" y="78609"/>
                </a:cubicBezTo>
                <a:cubicBezTo>
                  <a:pt x="149129" y="82654"/>
                  <a:pt x="151929" y="85765"/>
                  <a:pt x="155485" y="87943"/>
                </a:cubicBezTo>
                <a:cubicBezTo>
                  <a:pt x="159041" y="90121"/>
                  <a:pt x="163041" y="91210"/>
                  <a:pt x="167486" y="91210"/>
                </a:cubicBezTo>
                <a:cubicBezTo>
                  <a:pt x="171842" y="91210"/>
                  <a:pt x="175821" y="90143"/>
                  <a:pt x="179421" y="88010"/>
                </a:cubicBezTo>
                <a:cubicBezTo>
                  <a:pt x="183022" y="85876"/>
                  <a:pt x="185844" y="82787"/>
                  <a:pt x="187889" y="78742"/>
                </a:cubicBezTo>
                <a:cubicBezTo>
                  <a:pt x="189934" y="74697"/>
                  <a:pt x="190956" y="69963"/>
                  <a:pt x="190956" y="64540"/>
                </a:cubicBezTo>
                <a:cubicBezTo>
                  <a:pt x="190956" y="59206"/>
                  <a:pt x="189934" y="54539"/>
                  <a:pt x="187889" y="50539"/>
                </a:cubicBezTo>
                <a:cubicBezTo>
                  <a:pt x="185844" y="46538"/>
                  <a:pt x="183022" y="43471"/>
                  <a:pt x="179421" y="41337"/>
                </a:cubicBezTo>
                <a:cubicBezTo>
                  <a:pt x="175821" y="39204"/>
                  <a:pt x="171842" y="38137"/>
                  <a:pt x="167486" y="38137"/>
                </a:cubicBezTo>
                <a:close/>
                <a:moveTo>
                  <a:pt x="34136" y="38137"/>
                </a:moveTo>
                <a:cubicBezTo>
                  <a:pt x="29691" y="38137"/>
                  <a:pt x="25691" y="39226"/>
                  <a:pt x="22135" y="41404"/>
                </a:cubicBezTo>
                <a:cubicBezTo>
                  <a:pt x="18579" y="43582"/>
                  <a:pt x="15779" y="46671"/>
                  <a:pt x="13734" y="50672"/>
                </a:cubicBezTo>
                <a:cubicBezTo>
                  <a:pt x="11689" y="54672"/>
                  <a:pt x="10667" y="59295"/>
                  <a:pt x="10667" y="64540"/>
                </a:cubicBezTo>
                <a:cubicBezTo>
                  <a:pt x="10667" y="69874"/>
                  <a:pt x="11689" y="74564"/>
                  <a:pt x="13734" y="78609"/>
                </a:cubicBezTo>
                <a:cubicBezTo>
                  <a:pt x="15779" y="82654"/>
                  <a:pt x="18579" y="85765"/>
                  <a:pt x="22135" y="87943"/>
                </a:cubicBezTo>
                <a:cubicBezTo>
                  <a:pt x="25691" y="90121"/>
                  <a:pt x="29691" y="91210"/>
                  <a:pt x="34136" y="91210"/>
                </a:cubicBezTo>
                <a:cubicBezTo>
                  <a:pt x="38492" y="91210"/>
                  <a:pt x="42471" y="90143"/>
                  <a:pt x="46071" y="88010"/>
                </a:cubicBezTo>
                <a:cubicBezTo>
                  <a:pt x="49672" y="85876"/>
                  <a:pt x="52494" y="82787"/>
                  <a:pt x="54539" y="78742"/>
                </a:cubicBezTo>
                <a:cubicBezTo>
                  <a:pt x="56584" y="74697"/>
                  <a:pt x="57606" y="69963"/>
                  <a:pt x="57606" y="64540"/>
                </a:cubicBezTo>
                <a:cubicBezTo>
                  <a:pt x="57606" y="59206"/>
                  <a:pt x="56584" y="54539"/>
                  <a:pt x="54539" y="50539"/>
                </a:cubicBezTo>
                <a:cubicBezTo>
                  <a:pt x="52494" y="46538"/>
                  <a:pt x="49672" y="43471"/>
                  <a:pt x="46071" y="41337"/>
                </a:cubicBezTo>
                <a:cubicBezTo>
                  <a:pt x="42471" y="39204"/>
                  <a:pt x="38492" y="38137"/>
                  <a:pt x="34136" y="38137"/>
                </a:cubicBezTo>
                <a:close/>
                <a:moveTo>
                  <a:pt x="246277" y="29069"/>
                </a:moveTo>
                <a:cubicBezTo>
                  <a:pt x="254278" y="29069"/>
                  <a:pt x="260657" y="31047"/>
                  <a:pt x="265413" y="35003"/>
                </a:cubicBezTo>
                <a:cubicBezTo>
                  <a:pt x="270169" y="38959"/>
                  <a:pt x="272992" y="44004"/>
                  <a:pt x="273881" y="50138"/>
                </a:cubicBezTo>
                <a:lnTo>
                  <a:pt x="263613" y="50138"/>
                </a:lnTo>
                <a:cubicBezTo>
                  <a:pt x="262901" y="46494"/>
                  <a:pt x="261168" y="43538"/>
                  <a:pt x="258412" y="41271"/>
                </a:cubicBezTo>
                <a:cubicBezTo>
                  <a:pt x="255656" y="39004"/>
                  <a:pt x="251611" y="37870"/>
                  <a:pt x="246277" y="37870"/>
                </a:cubicBezTo>
                <a:cubicBezTo>
                  <a:pt x="241654" y="37870"/>
                  <a:pt x="237876" y="38715"/>
                  <a:pt x="234942" y="40404"/>
                </a:cubicBezTo>
                <a:cubicBezTo>
                  <a:pt x="232009" y="42093"/>
                  <a:pt x="230542" y="44627"/>
                  <a:pt x="230542" y="48005"/>
                </a:cubicBezTo>
                <a:cubicBezTo>
                  <a:pt x="230542" y="52983"/>
                  <a:pt x="234053" y="56139"/>
                  <a:pt x="241077" y="57473"/>
                </a:cubicBezTo>
                <a:lnTo>
                  <a:pt x="254145" y="60140"/>
                </a:lnTo>
                <a:cubicBezTo>
                  <a:pt x="267747" y="62807"/>
                  <a:pt x="274547" y="69385"/>
                  <a:pt x="274547" y="79876"/>
                </a:cubicBezTo>
                <a:cubicBezTo>
                  <a:pt x="274547" y="86632"/>
                  <a:pt x="271992" y="91721"/>
                  <a:pt x="266880" y="95144"/>
                </a:cubicBezTo>
                <a:cubicBezTo>
                  <a:pt x="261768" y="98567"/>
                  <a:pt x="255478" y="100278"/>
                  <a:pt x="248011" y="100278"/>
                </a:cubicBezTo>
                <a:cubicBezTo>
                  <a:pt x="239476" y="100278"/>
                  <a:pt x="232742" y="98167"/>
                  <a:pt x="227808" y="93944"/>
                </a:cubicBezTo>
                <a:cubicBezTo>
                  <a:pt x="222874" y="89721"/>
                  <a:pt x="219874" y="84143"/>
                  <a:pt x="218807" y="77209"/>
                </a:cubicBezTo>
                <a:lnTo>
                  <a:pt x="229075" y="77209"/>
                </a:lnTo>
                <a:cubicBezTo>
                  <a:pt x="229875" y="81565"/>
                  <a:pt x="231898" y="85010"/>
                  <a:pt x="235142" y="87543"/>
                </a:cubicBezTo>
                <a:cubicBezTo>
                  <a:pt x="238387" y="90077"/>
                  <a:pt x="242632" y="91344"/>
                  <a:pt x="247877" y="91344"/>
                </a:cubicBezTo>
                <a:cubicBezTo>
                  <a:pt x="252411" y="91344"/>
                  <a:pt x="256301" y="90366"/>
                  <a:pt x="259546" y="88410"/>
                </a:cubicBezTo>
                <a:cubicBezTo>
                  <a:pt x="262790" y="86454"/>
                  <a:pt x="264413" y="83609"/>
                  <a:pt x="264413" y="79876"/>
                </a:cubicBezTo>
                <a:cubicBezTo>
                  <a:pt x="264413" y="77120"/>
                  <a:pt x="263390" y="74897"/>
                  <a:pt x="261346" y="73208"/>
                </a:cubicBezTo>
                <a:cubicBezTo>
                  <a:pt x="259301" y="71519"/>
                  <a:pt x="256323" y="70274"/>
                  <a:pt x="252411" y="69474"/>
                </a:cubicBezTo>
                <a:lnTo>
                  <a:pt x="239076" y="66807"/>
                </a:lnTo>
                <a:cubicBezTo>
                  <a:pt x="233120" y="65652"/>
                  <a:pt x="228497" y="63540"/>
                  <a:pt x="225208" y="60473"/>
                </a:cubicBezTo>
                <a:cubicBezTo>
                  <a:pt x="221919" y="57406"/>
                  <a:pt x="220274" y="53339"/>
                  <a:pt x="220274" y="48272"/>
                </a:cubicBezTo>
                <a:cubicBezTo>
                  <a:pt x="220274" y="41960"/>
                  <a:pt x="222763" y="37181"/>
                  <a:pt x="227742" y="33936"/>
                </a:cubicBezTo>
                <a:cubicBezTo>
                  <a:pt x="232720" y="30692"/>
                  <a:pt x="238898" y="29069"/>
                  <a:pt x="246277" y="29069"/>
                </a:cubicBezTo>
                <a:close/>
                <a:moveTo>
                  <a:pt x="424909" y="132"/>
                </a:moveTo>
                <a:lnTo>
                  <a:pt x="424909" y="64007"/>
                </a:lnTo>
                <a:cubicBezTo>
                  <a:pt x="438689" y="54139"/>
                  <a:pt x="450334" y="42982"/>
                  <a:pt x="459847" y="30536"/>
                </a:cubicBezTo>
                <a:lnTo>
                  <a:pt x="472648" y="30536"/>
                </a:lnTo>
                <a:cubicBezTo>
                  <a:pt x="464381" y="41204"/>
                  <a:pt x="455535" y="50805"/>
                  <a:pt x="446112" y="59340"/>
                </a:cubicBezTo>
                <a:lnTo>
                  <a:pt x="473982" y="98811"/>
                </a:lnTo>
                <a:lnTo>
                  <a:pt x="461714" y="98811"/>
                </a:lnTo>
                <a:lnTo>
                  <a:pt x="438644" y="65607"/>
                </a:lnTo>
                <a:cubicBezTo>
                  <a:pt x="436955" y="67030"/>
                  <a:pt x="433132" y="70008"/>
                  <a:pt x="427176" y="74542"/>
                </a:cubicBezTo>
                <a:lnTo>
                  <a:pt x="424909" y="76142"/>
                </a:lnTo>
                <a:lnTo>
                  <a:pt x="424909" y="98811"/>
                </a:lnTo>
                <a:lnTo>
                  <a:pt x="414641" y="98811"/>
                </a:lnTo>
                <a:lnTo>
                  <a:pt x="414641" y="1732"/>
                </a:lnTo>
                <a:close/>
                <a:moveTo>
                  <a:pt x="391057" y="132"/>
                </a:moveTo>
                <a:lnTo>
                  <a:pt x="391057" y="98811"/>
                </a:lnTo>
                <a:lnTo>
                  <a:pt x="384256" y="98811"/>
                </a:lnTo>
                <a:lnTo>
                  <a:pt x="380789" y="87476"/>
                </a:lnTo>
                <a:lnTo>
                  <a:pt x="379989" y="87476"/>
                </a:lnTo>
                <a:cubicBezTo>
                  <a:pt x="377322" y="91566"/>
                  <a:pt x="373922" y="94722"/>
                  <a:pt x="369788" y="96944"/>
                </a:cubicBezTo>
                <a:cubicBezTo>
                  <a:pt x="365654" y="99167"/>
                  <a:pt x="361009" y="100278"/>
                  <a:pt x="355853" y="100278"/>
                </a:cubicBezTo>
                <a:cubicBezTo>
                  <a:pt x="349808" y="100278"/>
                  <a:pt x="344362" y="98722"/>
                  <a:pt x="339517" y="95611"/>
                </a:cubicBezTo>
                <a:cubicBezTo>
                  <a:pt x="334672" y="92499"/>
                  <a:pt x="330850" y="88232"/>
                  <a:pt x="328049" y="82809"/>
                </a:cubicBezTo>
                <a:cubicBezTo>
                  <a:pt x="325249" y="77386"/>
                  <a:pt x="323849" y="71297"/>
                  <a:pt x="323849" y="64540"/>
                </a:cubicBezTo>
                <a:cubicBezTo>
                  <a:pt x="323849" y="57873"/>
                  <a:pt x="325249" y="51828"/>
                  <a:pt x="328049" y="46405"/>
                </a:cubicBezTo>
                <a:cubicBezTo>
                  <a:pt x="330850" y="40982"/>
                  <a:pt x="334672" y="36737"/>
                  <a:pt x="339517" y="33670"/>
                </a:cubicBezTo>
                <a:cubicBezTo>
                  <a:pt x="344362" y="30603"/>
                  <a:pt x="349808" y="29069"/>
                  <a:pt x="355853" y="29069"/>
                </a:cubicBezTo>
                <a:cubicBezTo>
                  <a:pt x="361009" y="29069"/>
                  <a:pt x="365654" y="30180"/>
                  <a:pt x="369788" y="32403"/>
                </a:cubicBezTo>
                <a:cubicBezTo>
                  <a:pt x="373922" y="34625"/>
                  <a:pt x="377322" y="37781"/>
                  <a:pt x="379989" y="41871"/>
                </a:cubicBezTo>
                <a:lnTo>
                  <a:pt x="380789" y="41871"/>
                </a:lnTo>
                <a:lnTo>
                  <a:pt x="380789" y="1732"/>
                </a:lnTo>
                <a:close/>
                <a:moveTo>
                  <a:pt x="200557" y="132"/>
                </a:moveTo>
                <a:lnTo>
                  <a:pt x="200557" y="98811"/>
                </a:lnTo>
                <a:lnTo>
                  <a:pt x="193756" y="98811"/>
                </a:lnTo>
                <a:lnTo>
                  <a:pt x="190289" y="87476"/>
                </a:lnTo>
                <a:lnTo>
                  <a:pt x="189489" y="87476"/>
                </a:lnTo>
                <a:cubicBezTo>
                  <a:pt x="186822" y="91566"/>
                  <a:pt x="183422" y="94722"/>
                  <a:pt x="179288" y="96944"/>
                </a:cubicBezTo>
                <a:cubicBezTo>
                  <a:pt x="175154" y="99167"/>
                  <a:pt x="170509" y="100278"/>
                  <a:pt x="165353" y="100278"/>
                </a:cubicBezTo>
                <a:cubicBezTo>
                  <a:pt x="159308" y="100278"/>
                  <a:pt x="153862" y="98722"/>
                  <a:pt x="149017" y="95611"/>
                </a:cubicBezTo>
                <a:cubicBezTo>
                  <a:pt x="144172" y="92499"/>
                  <a:pt x="140350" y="88232"/>
                  <a:pt x="137549" y="82809"/>
                </a:cubicBezTo>
                <a:cubicBezTo>
                  <a:pt x="134749" y="77386"/>
                  <a:pt x="133349" y="71297"/>
                  <a:pt x="133349" y="64540"/>
                </a:cubicBezTo>
                <a:cubicBezTo>
                  <a:pt x="133349" y="57873"/>
                  <a:pt x="134749" y="51828"/>
                  <a:pt x="137549" y="46405"/>
                </a:cubicBezTo>
                <a:cubicBezTo>
                  <a:pt x="140350" y="40982"/>
                  <a:pt x="144172" y="36737"/>
                  <a:pt x="149017" y="33670"/>
                </a:cubicBezTo>
                <a:cubicBezTo>
                  <a:pt x="153862" y="30603"/>
                  <a:pt x="159308" y="29069"/>
                  <a:pt x="165353" y="29069"/>
                </a:cubicBezTo>
                <a:cubicBezTo>
                  <a:pt x="170509" y="29069"/>
                  <a:pt x="175154" y="30180"/>
                  <a:pt x="179288" y="32403"/>
                </a:cubicBezTo>
                <a:cubicBezTo>
                  <a:pt x="183422" y="34625"/>
                  <a:pt x="186822" y="37781"/>
                  <a:pt x="189489" y="41871"/>
                </a:cubicBezTo>
                <a:lnTo>
                  <a:pt x="190289" y="41871"/>
                </a:lnTo>
                <a:lnTo>
                  <a:pt x="190289" y="1732"/>
                </a:lnTo>
                <a:close/>
                <a:moveTo>
                  <a:pt x="67207" y="132"/>
                </a:moveTo>
                <a:lnTo>
                  <a:pt x="67207" y="98811"/>
                </a:lnTo>
                <a:lnTo>
                  <a:pt x="60406" y="98811"/>
                </a:lnTo>
                <a:lnTo>
                  <a:pt x="56939" y="87476"/>
                </a:lnTo>
                <a:lnTo>
                  <a:pt x="56139" y="87476"/>
                </a:lnTo>
                <a:cubicBezTo>
                  <a:pt x="53472" y="91566"/>
                  <a:pt x="50072" y="94722"/>
                  <a:pt x="45938" y="96944"/>
                </a:cubicBezTo>
                <a:cubicBezTo>
                  <a:pt x="41804" y="99167"/>
                  <a:pt x="37159" y="100278"/>
                  <a:pt x="32003" y="100278"/>
                </a:cubicBezTo>
                <a:cubicBezTo>
                  <a:pt x="25958" y="100278"/>
                  <a:pt x="20512" y="98722"/>
                  <a:pt x="15667" y="95611"/>
                </a:cubicBezTo>
                <a:cubicBezTo>
                  <a:pt x="10822" y="92499"/>
                  <a:pt x="7000" y="88232"/>
                  <a:pt x="4199" y="82809"/>
                </a:cubicBezTo>
                <a:lnTo>
                  <a:pt x="0" y="64545"/>
                </a:lnTo>
                <a:lnTo>
                  <a:pt x="0" y="64536"/>
                </a:lnTo>
                <a:lnTo>
                  <a:pt x="4199" y="46405"/>
                </a:lnTo>
                <a:cubicBezTo>
                  <a:pt x="7000" y="40982"/>
                  <a:pt x="10822" y="36737"/>
                  <a:pt x="15667" y="33670"/>
                </a:cubicBezTo>
                <a:cubicBezTo>
                  <a:pt x="20512" y="30603"/>
                  <a:pt x="25958" y="29069"/>
                  <a:pt x="32003" y="29069"/>
                </a:cubicBezTo>
                <a:cubicBezTo>
                  <a:pt x="37159" y="29069"/>
                  <a:pt x="41804" y="30180"/>
                  <a:pt x="45938" y="32403"/>
                </a:cubicBezTo>
                <a:cubicBezTo>
                  <a:pt x="50072" y="34625"/>
                  <a:pt x="53472" y="37781"/>
                  <a:pt x="56139" y="41871"/>
                </a:cubicBezTo>
                <a:lnTo>
                  <a:pt x="56939" y="41871"/>
                </a:lnTo>
                <a:lnTo>
                  <a:pt x="56939" y="1732"/>
                </a:lnTo>
                <a:close/>
                <a:moveTo>
                  <a:pt x="114524" y="0"/>
                </a:moveTo>
                <a:lnTo>
                  <a:pt x="114533" y="0"/>
                </a:lnTo>
                <a:lnTo>
                  <a:pt x="124262" y="1732"/>
                </a:lnTo>
                <a:lnTo>
                  <a:pt x="124262" y="10534"/>
                </a:lnTo>
                <a:cubicBezTo>
                  <a:pt x="121595" y="9556"/>
                  <a:pt x="118972" y="9067"/>
                  <a:pt x="116394" y="9067"/>
                </a:cubicBezTo>
                <a:cubicBezTo>
                  <a:pt x="108482" y="9067"/>
                  <a:pt x="104526" y="13289"/>
                  <a:pt x="104526" y="21735"/>
                </a:cubicBezTo>
                <a:lnTo>
                  <a:pt x="104526" y="30536"/>
                </a:lnTo>
                <a:lnTo>
                  <a:pt x="124262" y="30536"/>
                </a:lnTo>
                <a:lnTo>
                  <a:pt x="124262" y="39604"/>
                </a:lnTo>
                <a:lnTo>
                  <a:pt x="104526" y="39604"/>
                </a:lnTo>
                <a:lnTo>
                  <a:pt x="104526" y="98811"/>
                </a:lnTo>
                <a:lnTo>
                  <a:pt x="94258" y="98811"/>
                </a:lnTo>
                <a:lnTo>
                  <a:pt x="94258" y="39604"/>
                </a:lnTo>
                <a:lnTo>
                  <a:pt x="81990" y="39604"/>
                </a:lnTo>
                <a:lnTo>
                  <a:pt x="81990" y="30536"/>
                </a:lnTo>
                <a:lnTo>
                  <a:pt x="94258" y="30536"/>
                </a:lnTo>
                <a:lnTo>
                  <a:pt x="94258" y="21335"/>
                </a:lnTo>
                <a:cubicBezTo>
                  <a:pt x="94258" y="14667"/>
                  <a:pt x="96147" y="9445"/>
                  <a:pt x="99926" y="5666"/>
                </a:cubicBezTo>
                <a:close/>
              </a:path>
            </a:pathLst>
          </a:custGeom>
          <a:solidFill>
            <a:schemeClr val="bg1"/>
          </a:solidFill>
        </p:spPr>
        <p:txBody>
          <a:bodyPr wrap="square">
            <a:noAutofit/>
          </a:bodyPr>
          <a:lstStyle>
            <a:lvl1pPr marL="126000" indent="0">
              <a:buFontTx/>
              <a:buNone/>
              <a:defRPr sz="100">
                <a:noFill/>
              </a:defRPr>
            </a:lvl1pPr>
          </a:lstStyle>
          <a:p>
            <a:pPr lvl="0"/>
            <a:r>
              <a:rPr lang="en-GB"/>
              <a:t>Set text to 'No Fill'</a:t>
            </a:r>
          </a:p>
        </p:txBody>
      </p:sp>
      <p:sp>
        <p:nvSpPr>
          <p:cNvPr id="8" name="Text Placeholder 7">
            <a:extLst>
              <a:ext uri="{FF2B5EF4-FFF2-40B4-BE49-F238E27FC236}">
                <a16:creationId xmlns:a16="http://schemas.microsoft.com/office/drawing/2014/main" id="{8993070F-D378-98C7-E7AD-A5BD3CCE49E0}"/>
              </a:ext>
            </a:extLst>
          </p:cNvPr>
          <p:cNvSpPr>
            <a:spLocks noGrp="1"/>
          </p:cNvSpPr>
          <p:nvPr>
            <p:ph type="body" sz="quarter" idx="25" hasCustomPrompt="1"/>
          </p:nvPr>
        </p:nvSpPr>
        <p:spPr>
          <a:xfrm>
            <a:off x="269875" y="269875"/>
            <a:ext cx="4697682" cy="716280"/>
          </a:xfrm>
          <a:custGeom>
            <a:avLst/>
            <a:gdLst>
              <a:gd name="connsiteX0" fmla="*/ 3901935 w 4697682"/>
              <a:gd name="connsiteY0" fmla="*/ 290513 h 716280"/>
              <a:gd name="connsiteX1" fmla="*/ 3755250 w 4697682"/>
              <a:gd name="connsiteY1" fmla="*/ 460058 h 716280"/>
              <a:gd name="connsiteX2" fmla="*/ 3901935 w 4697682"/>
              <a:gd name="connsiteY2" fmla="*/ 629603 h 716280"/>
              <a:gd name="connsiteX3" fmla="*/ 4049573 w 4697682"/>
              <a:gd name="connsiteY3" fmla="*/ 460058 h 716280"/>
              <a:gd name="connsiteX4" fmla="*/ 3901935 w 4697682"/>
              <a:gd name="connsiteY4" fmla="*/ 290513 h 716280"/>
              <a:gd name="connsiteX5" fmla="*/ 1424902 w 4697682"/>
              <a:gd name="connsiteY5" fmla="*/ 290513 h 716280"/>
              <a:gd name="connsiteX6" fmla="*/ 1277264 w 4697682"/>
              <a:gd name="connsiteY6" fmla="*/ 460058 h 716280"/>
              <a:gd name="connsiteX7" fmla="*/ 1424902 w 4697682"/>
              <a:gd name="connsiteY7" fmla="*/ 629603 h 716280"/>
              <a:gd name="connsiteX8" fmla="*/ 1571587 w 4697682"/>
              <a:gd name="connsiteY8" fmla="*/ 460058 h 716280"/>
              <a:gd name="connsiteX9" fmla="*/ 1424902 w 4697682"/>
              <a:gd name="connsiteY9" fmla="*/ 290513 h 716280"/>
              <a:gd name="connsiteX10" fmla="*/ 4256675 w 4697682"/>
              <a:gd name="connsiteY10" fmla="*/ 214313 h 716280"/>
              <a:gd name="connsiteX11" fmla="*/ 4357640 w 4697682"/>
              <a:gd name="connsiteY11" fmla="*/ 214313 h 716280"/>
              <a:gd name="connsiteX12" fmla="*/ 4357640 w 4697682"/>
              <a:gd name="connsiteY12" fmla="*/ 498158 h 716280"/>
              <a:gd name="connsiteX13" fmla="*/ 4477655 w 4697682"/>
              <a:gd name="connsiteY13" fmla="*/ 629603 h 716280"/>
              <a:gd name="connsiteX14" fmla="*/ 4597670 w 4697682"/>
              <a:gd name="connsiteY14" fmla="*/ 498158 h 716280"/>
              <a:gd name="connsiteX15" fmla="*/ 4597670 w 4697682"/>
              <a:gd name="connsiteY15" fmla="*/ 214313 h 716280"/>
              <a:gd name="connsiteX16" fmla="*/ 4697682 w 4697682"/>
              <a:gd name="connsiteY16" fmla="*/ 214313 h 716280"/>
              <a:gd name="connsiteX17" fmla="*/ 4697682 w 4697682"/>
              <a:gd name="connsiteY17" fmla="*/ 502926 h 716280"/>
              <a:gd name="connsiteX18" fmla="*/ 4683663 w 4697682"/>
              <a:gd name="connsiteY18" fmla="*/ 593720 h 716280"/>
              <a:gd name="connsiteX19" fmla="*/ 4477655 w 4697682"/>
              <a:gd name="connsiteY19" fmla="*/ 716280 h 716280"/>
              <a:gd name="connsiteX20" fmla="*/ 4256675 w 4697682"/>
              <a:gd name="connsiteY20" fmla="*/ 502920 h 716280"/>
              <a:gd name="connsiteX21" fmla="*/ 3901935 w 4697682"/>
              <a:gd name="connsiteY21" fmla="*/ 203835 h 716280"/>
              <a:gd name="connsiteX22" fmla="*/ 4153395 w 4697682"/>
              <a:gd name="connsiteY22" fmla="*/ 460058 h 716280"/>
              <a:gd name="connsiteX23" fmla="*/ 3901935 w 4697682"/>
              <a:gd name="connsiteY23" fmla="*/ 716280 h 716280"/>
              <a:gd name="connsiteX24" fmla="*/ 3651428 w 4697682"/>
              <a:gd name="connsiteY24" fmla="*/ 460058 h 716280"/>
              <a:gd name="connsiteX25" fmla="*/ 3901935 w 4697682"/>
              <a:gd name="connsiteY25" fmla="*/ 203835 h 716280"/>
              <a:gd name="connsiteX26" fmla="*/ 2081327 w 4697682"/>
              <a:gd name="connsiteY26" fmla="*/ 203835 h 716280"/>
              <a:gd name="connsiteX27" fmla="*/ 2265159 w 4697682"/>
              <a:gd name="connsiteY27" fmla="*/ 398145 h 716280"/>
              <a:gd name="connsiteX28" fmla="*/ 2265159 w 4697682"/>
              <a:gd name="connsiteY28" fmla="*/ 705803 h 716280"/>
              <a:gd name="connsiteX29" fmla="*/ 2165147 w 4697682"/>
              <a:gd name="connsiteY29" fmla="*/ 705803 h 716280"/>
              <a:gd name="connsiteX30" fmla="*/ 2165147 w 4697682"/>
              <a:gd name="connsiteY30" fmla="*/ 409575 h 716280"/>
              <a:gd name="connsiteX31" fmla="*/ 2057514 w 4697682"/>
              <a:gd name="connsiteY31" fmla="*/ 291465 h 716280"/>
              <a:gd name="connsiteX32" fmla="*/ 1935594 w 4697682"/>
              <a:gd name="connsiteY32" fmla="*/ 425768 h 716280"/>
              <a:gd name="connsiteX33" fmla="*/ 1935594 w 4697682"/>
              <a:gd name="connsiteY33" fmla="*/ 705803 h 716280"/>
              <a:gd name="connsiteX34" fmla="*/ 1834629 w 4697682"/>
              <a:gd name="connsiteY34" fmla="*/ 705803 h 716280"/>
              <a:gd name="connsiteX35" fmla="*/ 1834629 w 4697682"/>
              <a:gd name="connsiteY35" fmla="*/ 214313 h 716280"/>
              <a:gd name="connsiteX36" fmla="*/ 1903209 w 4697682"/>
              <a:gd name="connsiteY36" fmla="*/ 214313 h 716280"/>
              <a:gd name="connsiteX37" fmla="*/ 1927022 w 4697682"/>
              <a:gd name="connsiteY37" fmla="*/ 274320 h 716280"/>
              <a:gd name="connsiteX38" fmla="*/ 1934642 w 4697682"/>
              <a:gd name="connsiteY38" fmla="*/ 274320 h 716280"/>
              <a:gd name="connsiteX39" fmla="*/ 2081327 w 4697682"/>
              <a:gd name="connsiteY39" fmla="*/ 203835 h 716280"/>
              <a:gd name="connsiteX40" fmla="*/ 1401089 w 4697682"/>
              <a:gd name="connsiteY40" fmla="*/ 203835 h 716280"/>
              <a:gd name="connsiteX41" fmla="*/ 1563967 w 4697682"/>
              <a:gd name="connsiteY41" fmla="*/ 286703 h 716280"/>
              <a:gd name="connsiteX42" fmla="*/ 1569682 w 4697682"/>
              <a:gd name="connsiteY42" fmla="*/ 286703 h 716280"/>
              <a:gd name="connsiteX43" fmla="*/ 1599209 w 4697682"/>
              <a:gd name="connsiteY43" fmla="*/ 214313 h 716280"/>
              <a:gd name="connsiteX44" fmla="*/ 1666837 w 4697682"/>
              <a:gd name="connsiteY44" fmla="*/ 214313 h 716280"/>
              <a:gd name="connsiteX45" fmla="*/ 1666837 w 4697682"/>
              <a:gd name="connsiteY45" fmla="*/ 580073 h 716280"/>
              <a:gd name="connsiteX46" fmla="*/ 1712557 w 4697682"/>
              <a:gd name="connsiteY46" fmla="*/ 628650 h 716280"/>
              <a:gd name="connsiteX47" fmla="*/ 1744942 w 4697682"/>
              <a:gd name="connsiteY47" fmla="*/ 621983 h 716280"/>
              <a:gd name="connsiteX48" fmla="*/ 1744942 w 4697682"/>
              <a:gd name="connsiteY48" fmla="*/ 700088 h 716280"/>
              <a:gd name="connsiteX49" fmla="*/ 1683029 w 4697682"/>
              <a:gd name="connsiteY49" fmla="*/ 711518 h 716280"/>
              <a:gd name="connsiteX50" fmla="*/ 1574444 w 4697682"/>
              <a:gd name="connsiteY50" fmla="*/ 626745 h 716280"/>
              <a:gd name="connsiteX51" fmla="*/ 1567777 w 4697682"/>
              <a:gd name="connsiteY51" fmla="*/ 626745 h 716280"/>
              <a:gd name="connsiteX52" fmla="*/ 1401089 w 4697682"/>
              <a:gd name="connsiteY52" fmla="*/ 716280 h 716280"/>
              <a:gd name="connsiteX53" fmla="*/ 1173442 w 4697682"/>
              <a:gd name="connsiteY53" fmla="*/ 460058 h 716280"/>
              <a:gd name="connsiteX54" fmla="*/ 1401089 w 4697682"/>
              <a:gd name="connsiteY54" fmla="*/ 203835 h 716280"/>
              <a:gd name="connsiteX55" fmla="*/ 3086033 w 4697682"/>
              <a:gd name="connsiteY55" fmla="*/ 39053 h 716280"/>
              <a:gd name="connsiteX56" fmla="*/ 3205096 w 4697682"/>
              <a:gd name="connsiteY56" fmla="*/ 39053 h 716280"/>
              <a:gd name="connsiteX57" fmla="*/ 3376546 w 4697682"/>
              <a:gd name="connsiteY57" fmla="*/ 346710 h 716280"/>
              <a:gd name="connsiteX58" fmla="*/ 3386071 w 4697682"/>
              <a:gd name="connsiteY58" fmla="*/ 346710 h 716280"/>
              <a:gd name="connsiteX59" fmla="*/ 3557521 w 4697682"/>
              <a:gd name="connsiteY59" fmla="*/ 39053 h 716280"/>
              <a:gd name="connsiteX60" fmla="*/ 3676583 w 4697682"/>
              <a:gd name="connsiteY60" fmla="*/ 39053 h 716280"/>
              <a:gd name="connsiteX61" fmla="*/ 3433696 w 4697682"/>
              <a:gd name="connsiteY61" fmla="*/ 449580 h 716280"/>
              <a:gd name="connsiteX62" fmla="*/ 3433696 w 4697682"/>
              <a:gd name="connsiteY62" fmla="*/ 705803 h 716280"/>
              <a:gd name="connsiteX63" fmla="*/ 3328921 w 4697682"/>
              <a:gd name="connsiteY63" fmla="*/ 705803 h 716280"/>
              <a:gd name="connsiteX64" fmla="*/ 3328921 w 4697682"/>
              <a:gd name="connsiteY64" fmla="*/ 449580 h 716280"/>
              <a:gd name="connsiteX65" fmla="*/ 0 w 4697682"/>
              <a:gd name="connsiteY65" fmla="*/ 39053 h 716280"/>
              <a:gd name="connsiteX66" fmla="*/ 551498 w 4697682"/>
              <a:gd name="connsiteY66" fmla="*/ 39053 h 716280"/>
              <a:gd name="connsiteX67" fmla="*/ 551498 w 4697682"/>
              <a:gd name="connsiteY67" fmla="*/ 133350 h 716280"/>
              <a:gd name="connsiteX68" fmla="*/ 328613 w 4697682"/>
              <a:gd name="connsiteY68" fmla="*/ 133350 h 716280"/>
              <a:gd name="connsiteX69" fmla="*/ 328613 w 4697682"/>
              <a:gd name="connsiteY69" fmla="*/ 705803 h 716280"/>
              <a:gd name="connsiteX70" fmla="*/ 223838 w 4697682"/>
              <a:gd name="connsiteY70" fmla="*/ 705803 h 716280"/>
              <a:gd name="connsiteX71" fmla="*/ 223838 w 4697682"/>
              <a:gd name="connsiteY71" fmla="*/ 133350 h 716280"/>
              <a:gd name="connsiteX72" fmla="*/ 0 w 4697682"/>
              <a:gd name="connsiteY72" fmla="*/ 133350 h 716280"/>
              <a:gd name="connsiteX73" fmla="*/ 2502065 w 4697682"/>
              <a:gd name="connsiteY73" fmla="*/ 0 h 716280"/>
              <a:gd name="connsiteX74" fmla="*/ 2502065 w 4697682"/>
              <a:gd name="connsiteY74" fmla="*/ 434340 h 716280"/>
              <a:gd name="connsiteX75" fmla="*/ 2726855 w 4697682"/>
              <a:gd name="connsiteY75" fmla="*/ 214313 h 716280"/>
              <a:gd name="connsiteX76" fmla="*/ 2850680 w 4697682"/>
              <a:gd name="connsiteY76" fmla="*/ 214313 h 716280"/>
              <a:gd name="connsiteX77" fmla="*/ 2663038 w 4697682"/>
              <a:gd name="connsiteY77" fmla="*/ 421958 h 716280"/>
              <a:gd name="connsiteX78" fmla="*/ 2855443 w 4697682"/>
              <a:gd name="connsiteY78" fmla="*/ 705803 h 716280"/>
              <a:gd name="connsiteX79" fmla="*/ 2737333 w 4697682"/>
              <a:gd name="connsiteY79" fmla="*/ 705803 h 716280"/>
              <a:gd name="connsiteX80" fmla="*/ 2590648 w 4697682"/>
              <a:gd name="connsiteY80" fmla="*/ 483870 h 716280"/>
              <a:gd name="connsiteX81" fmla="*/ 2502065 w 4697682"/>
              <a:gd name="connsiteY81" fmla="*/ 550545 h 716280"/>
              <a:gd name="connsiteX82" fmla="*/ 2502065 w 4697682"/>
              <a:gd name="connsiteY82" fmla="*/ 705803 h 716280"/>
              <a:gd name="connsiteX83" fmla="*/ 2401100 w 4697682"/>
              <a:gd name="connsiteY83" fmla="*/ 705803 h 716280"/>
              <a:gd name="connsiteX84" fmla="*/ 2401100 w 4697682"/>
              <a:gd name="connsiteY84" fmla="*/ 13335 h 716280"/>
              <a:gd name="connsiteX85" fmla="*/ 740315 w 4697682"/>
              <a:gd name="connsiteY85" fmla="*/ 0 h 716280"/>
              <a:gd name="connsiteX86" fmla="*/ 740315 w 4697682"/>
              <a:gd name="connsiteY86" fmla="*/ 262890 h 716280"/>
              <a:gd name="connsiteX87" fmla="*/ 747935 w 4697682"/>
              <a:gd name="connsiteY87" fmla="*/ 262890 h 716280"/>
              <a:gd name="connsiteX88" fmla="*/ 886048 w 4697682"/>
              <a:gd name="connsiteY88" fmla="*/ 203835 h 716280"/>
              <a:gd name="connsiteX89" fmla="*/ 1069877 w 4697682"/>
              <a:gd name="connsiteY89" fmla="*/ 398145 h 716280"/>
              <a:gd name="connsiteX90" fmla="*/ 1069877 w 4697682"/>
              <a:gd name="connsiteY90" fmla="*/ 705803 h 716280"/>
              <a:gd name="connsiteX91" fmla="*/ 969864 w 4697682"/>
              <a:gd name="connsiteY91" fmla="*/ 705803 h 716280"/>
              <a:gd name="connsiteX92" fmla="*/ 969864 w 4697682"/>
              <a:gd name="connsiteY92" fmla="*/ 409575 h 716280"/>
              <a:gd name="connsiteX93" fmla="*/ 862235 w 4697682"/>
              <a:gd name="connsiteY93" fmla="*/ 291465 h 716280"/>
              <a:gd name="connsiteX94" fmla="*/ 740315 w 4697682"/>
              <a:gd name="connsiteY94" fmla="*/ 425768 h 716280"/>
              <a:gd name="connsiteX95" fmla="*/ 740315 w 4697682"/>
              <a:gd name="connsiteY95" fmla="*/ 705803 h 716280"/>
              <a:gd name="connsiteX96" fmla="*/ 639350 w 4697682"/>
              <a:gd name="connsiteY96" fmla="*/ 705803 h 716280"/>
              <a:gd name="connsiteX97" fmla="*/ 639350 w 4697682"/>
              <a:gd name="connsiteY97" fmla="*/ 12383 h 716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4697682" h="716280">
                <a:moveTo>
                  <a:pt x="3901935" y="290513"/>
                </a:moveTo>
                <a:cubicBezTo>
                  <a:pt x="3817163" y="290513"/>
                  <a:pt x="3755250" y="356235"/>
                  <a:pt x="3755250" y="460058"/>
                </a:cubicBezTo>
                <a:cubicBezTo>
                  <a:pt x="3755250" y="563880"/>
                  <a:pt x="3817163" y="629603"/>
                  <a:pt x="3901935" y="629603"/>
                </a:cubicBezTo>
                <a:cubicBezTo>
                  <a:pt x="3987660" y="629603"/>
                  <a:pt x="4049573" y="563880"/>
                  <a:pt x="4049573" y="460058"/>
                </a:cubicBezTo>
                <a:cubicBezTo>
                  <a:pt x="4049573" y="356235"/>
                  <a:pt x="3987660" y="290513"/>
                  <a:pt x="3901935" y="290513"/>
                </a:cubicBezTo>
                <a:close/>
                <a:moveTo>
                  <a:pt x="1424902" y="290513"/>
                </a:moveTo>
                <a:cubicBezTo>
                  <a:pt x="1340129" y="290513"/>
                  <a:pt x="1277264" y="354330"/>
                  <a:pt x="1277264" y="460058"/>
                </a:cubicBezTo>
                <a:cubicBezTo>
                  <a:pt x="1277264" y="565785"/>
                  <a:pt x="1340129" y="629603"/>
                  <a:pt x="1424902" y="629603"/>
                </a:cubicBezTo>
                <a:cubicBezTo>
                  <a:pt x="1508722" y="629603"/>
                  <a:pt x="1571587" y="564833"/>
                  <a:pt x="1571587" y="460058"/>
                </a:cubicBezTo>
                <a:cubicBezTo>
                  <a:pt x="1571587" y="354330"/>
                  <a:pt x="1508722" y="290513"/>
                  <a:pt x="1424902" y="290513"/>
                </a:cubicBezTo>
                <a:close/>
                <a:moveTo>
                  <a:pt x="4256675" y="214313"/>
                </a:moveTo>
                <a:lnTo>
                  <a:pt x="4357640" y="214313"/>
                </a:lnTo>
                <a:lnTo>
                  <a:pt x="4357640" y="498158"/>
                </a:lnTo>
                <a:cubicBezTo>
                  <a:pt x="4357640" y="586740"/>
                  <a:pt x="4397645" y="629603"/>
                  <a:pt x="4477655" y="629603"/>
                </a:cubicBezTo>
                <a:cubicBezTo>
                  <a:pt x="4557665" y="629603"/>
                  <a:pt x="4597670" y="586740"/>
                  <a:pt x="4597670" y="498158"/>
                </a:cubicBezTo>
                <a:lnTo>
                  <a:pt x="4597670" y="214313"/>
                </a:lnTo>
                <a:lnTo>
                  <a:pt x="4697682" y="214313"/>
                </a:lnTo>
                <a:lnTo>
                  <a:pt x="4697682" y="502926"/>
                </a:lnTo>
                <a:lnTo>
                  <a:pt x="4683663" y="593720"/>
                </a:lnTo>
                <a:cubicBezTo>
                  <a:pt x="4655713" y="672882"/>
                  <a:pt x="4586240" y="716280"/>
                  <a:pt x="4477655" y="716280"/>
                </a:cubicBezTo>
                <a:cubicBezTo>
                  <a:pt x="4331923" y="716280"/>
                  <a:pt x="4256675" y="639128"/>
                  <a:pt x="4256675" y="502920"/>
                </a:cubicBezTo>
                <a:close/>
                <a:moveTo>
                  <a:pt x="3901935" y="203835"/>
                </a:moveTo>
                <a:cubicBezTo>
                  <a:pt x="4051478" y="203835"/>
                  <a:pt x="4153395" y="310515"/>
                  <a:pt x="4153395" y="460058"/>
                </a:cubicBezTo>
                <a:cubicBezTo>
                  <a:pt x="4153395" y="609600"/>
                  <a:pt x="4051478" y="716280"/>
                  <a:pt x="3901935" y="716280"/>
                </a:cubicBezTo>
                <a:cubicBezTo>
                  <a:pt x="3753345" y="716280"/>
                  <a:pt x="3651428" y="609600"/>
                  <a:pt x="3651428" y="460058"/>
                </a:cubicBezTo>
                <a:cubicBezTo>
                  <a:pt x="3651428" y="310515"/>
                  <a:pt x="3753345" y="203835"/>
                  <a:pt x="3901935" y="203835"/>
                </a:cubicBezTo>
                <a:close/>
                <a:moveTo>
                  <a:pt x="2081327" y="203835"/>
                </a:moveTo>
                <a:cubicBezTo>
                  <a:pt x="2191817" y="203835"/>
                  <a:pt x="2265159" y="276225"/>
                  <a:pt x="2265159" y="398145"/>
                </a:cubicBezTo>
                <a:lnTo>
                  <a:pt x="2265159" y="705803"/>
                </a:lnTo>
                <a:lnTo>
                  <a:pt x="2165147" y="705803"/>
                </a:lnTo>
                <a:lnTo>
                  <a:pt x="2165147" y="409575"/>
                </a:lnTo>
                <a:cubicBezTo>
                  <a:pt x="2165147" y="330518"/>
                  <a:pt x="2128952" y="291465"/>
                  <a:pt x="2057514" y="291465"/>
                </a:cubicBezTo>
                <a:cubicBezTo>
                  <a:pt x="1980362" y="291465"/>
                  <a:pt x="1935594" y="337185"/>
                  <a:pt x="1935594" y="425768"/>
                </a:cubicBezTo>
                <a:lnTo>
                  <a:pt x="1935594" y="705803"/>
                </a:lnTo>
                <a:lnTo>
                  <a:pt x="1834629" y="705803"/>
                </a:lnTo>
                <a:lnTo>
                  <a:pt x="1834629" y="214313"/>
                </a:lnTo>
                <a:lnTo>
                  <a:pt x="1903209" y="214313"/>
                </a:lnTo>
                <a:lnTo>
                  <a:pt x="1927022" y="274320"/>
                </a:lnTo>
                <a:lnTo>
                  <a:pt x="1934642" y="274320"/>
                </a:lnTo>
                <a:cubicBezTo>
                  <a:pt x="1965122" y="230505"/>
                  <a:pt x="2013699" y="203835"/>
                  <a:pt x="2081327" y="203835"/>
                </a:cubicBezTo>
                <a:close/>
                <a:moveTo>
                  <a:pt x="1401089" y="203835"/>
                </a:moveTo>
                <a:cubicBezTo>
                  <a:pt x="1471575" y="203835"/>
                  <a:pt x="1527772" y="234315"/>
                  <a:pt x="1563967" y="286703"/>
                </a:cubicBezTo>
                <a:lnTo>
                  <a:pt x="1569682" y="286703"/>
                </a:lnTo>
                <a:lnTo>
                  <a:pt x="1599209" y="214313"/>
                </a:lnTo>
                <a:lnTo>
                  <a:pt x="1666837" y="214313"/>
                </a:lnTo>
                <a:lnTo>
                  <a:pt x="1666837" y="580073"/>
                </a:lnTo>
                <a:cubicBezTo>
                  <a:pt x="1666837" y="615315"/>
                  <a:pt x="1685887" y="628650"/>
                  <a:pt x="1712557" y="628650"/>
                </a:cubicBezTo>
                <a:cubicBezTo>
                  <a:pt x="1726844" y="628650"/>
                  <a:pt x="1739227" y="624840"/>
                  <a:pt x="1744942" y="621983"/>
                </a:cubicBezTo>
                <a:lnTo>
                  <a:pt x="1744942" y="700088"/>
                </a:lnTo>
                <a:cubicBezTo>
                  <a:pt x="1728750" y="706755"/>
                  <a:pt x="1707794" y="711518"/>
                  <a:pt x="1683029" y="711518"/>
                </a:cubicBezTo>
                <a:cubicBezTo>
                  <a:pt x="1620164" y="711518"/>
                  <a:pt x="1582064" y="678180"/>
                  <a:pt x="1574444" y="626745"/>
                </a:cubicBezTo>
                <a:lnTo>
                  <a:pt x="1567777" y="626745"/>
                </a:lnTo>
                <a:cubicBezTo>
                  <a:pt x="1532534" y="682943"/>
                  <a:pt x="1474432" y="716280"/>
                  <a:pt x="1401089" y="716280"/>
                </a:cubicBezTo>
                <a:cubicBezTo>
                  <a:pt x="1269644" y="716280"/>
                  <a:pt x="1173442" y="608648"/>
                  <a:pt x="1173442" y="460058"/>
                </a:cubicBezTo>
                <a:cubicBezTo>
                  <a:pt x="1173442" y="310515"/>
                  <a:pt x="1269644" y="203835"/>
                  <a:pt x="1401089" y="203835"/>
                </a:cubicBezTo>
                <a:close/>
                <a:moveTo>
                  <a:pt x="3086033" y="39053"/>
                </a:moveTo>
                <a:lnTo>
                  <a:pt x="3205096" y="39053"/>
                </a:lnTo>
                <a:lnTo>
                  <a:pt x="3376546" y="346710"/>
                </a:lnTo>
                <a:lnTo>
                  <a:pt x="3386071" y="346710"/>
                </a:lnTo>
                <a:lnTo>
                  <a:pt x="3557521" y="39053"/>
                </a:lnTo>
                <a:lnTo>
                  <a:pt x="3676583" y="39053"/>
                </a:lnTo>
                <a:lnTo>
                  <a:pt x="3433696" y="449580"/>
                </a:lnTo>
                <a:lnTo>
                  <a:pt x="3433696" y="705803"/>
                </a:lnTo>
                <a:lnTo>
                  <a:pt x="3328921" y="705803"/>
                </a:lnTo>
                <a:lnTo>
                  <a:pt x="3328921" y="449580"/>
                </a:lnTo>
                <a:close/>
                <a:moveTo>
                  <a:pt x="0" y="39053"/>
                </a:moveTo>
                <a:lnTo>
                  <a:pt x="551498" y="39053"/>
                </a:lnTo>
                <a:lnTo>
                  <a:pt x="551498" y="133350"/>
                </a:lnTo>
                <a:lnTo>
                  <a:pt x="328613" y="133350"/>
                </a:lnTo>
                <a:lnTo>
                  <a:pt x="328613" y="705803"/>
                </a:lnTo>
                <a:lnTo>
                  <a:pt x="223838" y="705803"/>
                </a:lnTo>
                <a:lnTo>
                  <a:pt x="223838" y="133350"/>
                </a:lnTo>
                <a:lnTo>
                  <a:pt x="0" y="133350"/>
                </a:lnTo>
                <a:close/>
                <a:moveTo>
                  <a:pt x="2502065" y="0"/>
                </a:moveTo>
                <a:lnTo>
                  <a:pt x="2502065" y="434340"/>
                </a:lnTo>
                <a:cubicBezTo>
                  <a:pt x="2586838" y="373380"/>
                  <a:pt x="2663990" y="300990"/>
                  <a:pt x="2726855" y="214313"/>
                </a:cubicBezTo>
                <a:lnTo>
                  <a:pt x="2850680" y="214313"/>
                </a:lnTo>
                <a:cubicBezTo>
                  <a:pt x="2790673" y="293370"/>
                  <a:pt x="2730665" y="360045"/>
                  <a:pt x="2663038" y="421958"/>
                </a:cubicBezTo>
                <a:lnTo>
                  <a:pt x="2855443" y="705803"/>
                </a:lnTo>
                <a:lnTo>
                  <a:pt x="2737333" y="705803"/>
                </a:lnTo>
                <a:lnTo>
                  <a:pt x="2590648" y="483870"/>
                </a:lnTo>
                <a:cubicBezTo>
                  <a:pt x="2562073" y="505778"/>
                  <a:pt x="2533498" y="528638"/>
                  <a:pt x="2502065" y="550545"/>
                </a:cubicBezTo>
                <a:lnTo>
                  <a:pt x="2502065" y="705803"/>
                </a:lnTo>
                <a:lnTo>
                  <a:pt x="2401100" y="705803"/>
                </a:lnTo>
                <a:lnTo>
                  <a:pt x="2401100" y="13335"/>
                </a:lnTo>
                <a:close/>
                <a:moveTo>
                  <a:pt x="740315" y="0"/>
                </a:moveTo>
                <a:lnTo>
                  <a:pt x="740315" y="262890"/>
                </a:lnTo>
                <a:lnTo>
                  <a:pt x="747935" y="262890"/>
                </a:lnTo>
                <a:cubicBezTo>
                  <a:pt x="778415" y="226695"/>
                  <a:pt x="824135" y="203835"/>
                  <a:pt x="886048" y="203835"/>
                </a:cubicBezTo>
                <a:cubicBezTo>
                  <a:pt x="996534" y="203835"/>
                  <a:pt x="1069877" y="276225"/>
                  <a:pt x="1069877" y="398145"/>
                </a:cubicBezTo>
                <a:lnTo>
                  <a:pt x="1069877" y="705803"/>
                </a:lnTo>
                <a:lnTo>
                  <a:pt x="969864" y="705803"/>
                </a:lnTo>
                <a:lnTo>
                  <a:pt x="969864" y="409575"/>
                </a:lnTo>
                <a:cubicBezTo>
                  <a:pt x="969864" y="330518"/>
                  <a:pt x="933673" y="291465"/>
                  <a:pt x="862235" y="291465"/>
                </a:cubicBezTo>
                <a:cubicBezTo>
                  <a:pt x="785083" y="291465"/>
                  <a:pt x="740315" y="337185"/>
                  <a:pt x="740315" y="425768"/>
                </a:cubicBezTo>
                <a:lnTo>
                  <a:pt x="740315" y="705803"/>
                </a:lnTo>
                <a:lnTo>
                  <a:pt x="639350" y="705803"/>
                </a:lnTo>
                <a:lnTo>
                  <a:pt x="639350" y="12383"/>
                </a:lnTo>
                <a:close/>
              </a:path>
            </a:pathLst>
          </a:custGeom>
          <a:solidFill>
            <a:schemeClr val="bg1"/>
          </a:solidFill>
        </p:spPr>
        <p:txBody>
          <a:bodyPr wrap="square">
            <a:noAutofit/>
          </a:bodyPr>
          <a:lstStyle>
            <a:lvl1pPr marL="0" indent="0">
              <a:buFontTx/>
              <a:buNone/>
              <a:defRPr sz="800">
                <a:noFill/>
              </a:defRPr>
            </a:lvl1pPr>
          </a:lstStyle>
          <a:p>
            <a:pPr lvl="0"/>
            <a:r>
              <a:rPr lang="en-GB"/>
              <a:t>Set text to 'No Fill'</a:t>
            </a:r>
          </a:p>
        </p:txBody>
      </p:sp>
    </p:spTree>
    <p:extLst>
      <p:ext uri="{BB962C8B-B14F-4D97-AF65-F5344CB8AC3E}">
        <p14:creationId xmlns:p14="http://schemas.microsoft.com/office/powerpoint/2010/main" val="5712685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4E1B4C6A-FC10-1448-1E27-DF64D1240D3D}"/>
              </a:ext>
            </a:extLst>
          </p:cNvPr>
          <p:cNvSpPr>
            <a:spLocks noGrp="1"/>
          </p:cNvSpPr>
          <p:nvPr>
            <p:ph type="dt" sz="half" idx="10"/>
          </p:nvPr>
        </p:nvSpPr>
        <p:spPr>
          <a:xfrm>
            <a:off x="0" y="6858000"/>
            <a:ext cx="0" cy="0"/>
          </a:xfrm>
          <a:prstGeom prst="rect">
            <a:avLst/>
          </a:prstGeom>
        </p:spPr>
        <p:txBody>
          <a:bodyPr/>
          <a:lstStyle>
            <a:lvl1pPr>
              <a:defRPr sz="100">
                <a:noFill/>
              </a:defRPr>
            </a:lvl1pPr>
          </a:lstStyle>
          <a:p>
            <a:fld id="{AFCDB529-BD41-4E64-9C7B-0BCED384B3EF}" type="datetime4">
              <a:rPr lang="en-GB" smtClean="0"/>
              <a:t>20 February 2025</a:t>
            </a:fld>
            <a:endParaRPr lang="en-GB"/>
          </a:p>
        </p:txBody>
      </p:sp>
      <p:sp>
        <p:nvSpPr>
          <p:cNvPr id="6" name="Footer Placeholder 5">
            <a:extLst>
              <a:ext uri="{FF2B5EF4-FFF2-40B4-BE49-F238E27FC236}">
                <a16:creationId xmlns:a16="http://schemas.microsoft.com/office/drawing/2014/main" id="{CE5B82B7-12B0-864B-83F7-D649A621B8F8}"/>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BF7DAA7C-CC91-E906-0AE1-7AD8B8540A5A}"/>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8" name="Freeform: Shape 7">
            <a:extLst>
              <a:ext uri="{FF2B5EF4-FFF2-40B4-BE49-F238E27FC236}">
                <a16:creationId xmlns:a16="http://schemas.microsoft.com/office/drawing/2014/main" id="{A713A15C-583A-4254-81C4-237DB4F5C847}"/>
              </a:ext>
            </a:extLst>
          </p:cNvPr>
          <p:cNvSpPr/>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solidFill>
            <a:srgbClr val="2369F5"/>
          </a:solidFill>
          <a:ln w="9525" cap="flat">
            <a:noFill/>
            <a:prstDash val="solid"/>
            <a:miter/>
          </a:ln>
        </p:spPr>
        <p:txBody>
          <a:bodyPr rtlCol="0" anchor="ctr"/>
          <a:lstStyle/>
          <a:p>
            <a:endParaRPr lang="en-GB"/>
          </a:p>
        </p:txBody>
      </p:sp>
      <p:sp>
        <p:nvSpPr>
          <p:cNvPr id="9" name="Freeform: Shape 8">
            <a:extLst>
              <a:ext uri="{FF2B5EF4-FFF2-40B4-BE49-F238E27FC236}">
                <a16:creationId xmlns:a16="http://schemas.microsoft.com/office/drawing/2014/main" id="{D9EBE63A-C306-A478-46EA-ADCFCEC15D63}"/>
              </a:ext>
            </a:extLst>
          </p:cNvPr>
          <p:cNvSpPr/>
          <p:nvPr/>
        </p:nvSpPr>
        <p:spPr>
          <a:xfrm>
            <a:off x="3429000" y="0"/>
            <a:ext cx="8763000" cy="3429000"/>
          </a:xfrm>
          <a:custGeom>
            <a:avLst/>
            <a:gdLst>
              <a:gd name="connsiteX0" fmla="*/ 0 w 8763000"/>
              <a:gd name="connsiteY0" fmla="*/ 0 h 3429000"/>
              <a:gd name="connsiteX1" fmla="*/ 8763000 w 8763000"/>
              <a:gd name="connsiteY1" fmla="*/ 0 h 3429000"/>
              <a:gd name="connsiteX2" fmla="*/ 8763000 w 8763000"/>
              <a:gd name="connsiteY2" fmla="*/ 3429000 h 3429000"/>
              <a:gd name="connsiteX3" fmla="*/ 0 w 8763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8763000" h="3429000">
                <a:moveTo>
                  <a:pt x="0" y="0"/>
                </a:moveTo>
                <a:lnTo>
                  <a:pt x="8763000" y="0"/>
                </a:lnTo>
                <a:lnTo>
                  <a:pt x="8763000" y="3429000"/>
                </a:lnTo>
                <a:lnTo>
                  <a:pt x="0" y="3429000"/>
                </a:lnTo>
                <a:close/>
              </a:path>
            </a:pathLst>
          </a:custGeom>
          <a:solidFill>
            <a:srgbClr val="EDEBDE"/>
          </a:solidFill>
          <a:ln w="9525" cap="flat">
            <a:noFill/>
            <a:prstDash val="solid"/>
            <a:miter/>
          </a:ln>
        </p:spPr>
        <p:txBody>
          <a:bodyPr rtlCol="0" anchor="ctr"/>
          <a:lstStyle/>
          <a:p>
            <a:endParaRPr lang="en-GB"/>
          </a:p>
        </p:txBody>
      </p:sp>
      <p:sp>
        <p:nvSpPr>
          <p:cNvPr id="10" name="Freeform: Shape 9">
            <a:extLst>
              <a:ext uri="{FF2B5EF4-FFF2-40B4-BE49-F238E27FC236}">
                <a16:creationId xmlns:a16="http://schemas.microsoft.com/office/drawing/2014/main" id="{7231FE5C-CB2E-86DA-5B34-46CC48497C13}"/>
              </a:ext>
            </a:extLst>
          </p:cNvPr>
          <p:cNvSpPr/>
          <p:nvPr/>
        </p:nvSpPr>
        <p:spPr>
          <a:xfrm>
            <a:off x="8763000" y="3429000"/>
            <a:ext cx="3429000" cy="3429000"/>
          </a:xfrm>
          <a:custGeom>
            <a:avLst/>
            <a:gdLst>
              <a:gd name="connsiteX0" fmla="*/ 0 w 3429000"/>
              <a:gd name="connsiteY0" fmla="*/ 0 h 3429000"/>
              <a:gd name="connsiteX1" fmla="*/ 3429000 w 3429000"/>
              <a:gd name="connsiteY1" fmla="*/ 0 h 3429000"/>
              <a:gd name="connsiteX2" fmla="*/ 3429000 w 3429000"/>
              <a:gd name="connsiteY2" fmla="*/ 3429000 h 3429000"/>
              <a:gd name="connsiteX3" fmla="*/ 0 w 3429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3429000" h="3429000">
                <a:moveTo>
                  <a:pt x="0" y="0"/>
                </a:moveTo>
                <a:lnTo>
                  <a:pt x="3429000" y="0"/>
                </a:lnTo>
                <a:lnTo>
                  <a:pt x="3429000" y="3429000"/>
                </a:lnTo>
                <a:lnTo>
                  <a:pt x="0" y="3429000"/>
                </a:lnTo>
                <a:close/>
              </a:path>
            </a:pathLst>
          </a:custGeom>
          <a:solidFill>
            <a:srgbClr val="002B45"/>
          </a:solidFill>
          <a:ln w="9525" cap="flat">
            <a:noFill/>
            <a:prstDash val="solid"/>
            <a:miter/>
          </a:ln>
        </p:spPr>
        <p:txBody>
          <a:bodyPr rtlCol="0" anchor="ctr"/>
          <a:lstStyle/>
          <a:p>
            <a:endParaRPr lang="en-GB"/>
          </a:p>
        </p:txBody>
      </p:sp>
      <p:sp>
        <p:nvSpPr>
          <p:cNvPr id="11" name="Freeform: Shape 10">
            <a:extLst>
              <a:ext uri="{FF2B5EF4-FFF2-40B4-BE49-F238E27FC236}">
                <a16:creationId xmlns:a16="http://schemas.microsoft.com/office/drawing/2014/main" id="{82F32E09-BFD1-82A6-E65C-B9AE31533D77}"/>
              </a:ext>
            </a:extLst>
          </p:cNvPr>
          <p:cNvSpPr/>
          <p:nvPr/>
        </p:nvSpPr>
        <p:spPr>
          <a:xfrm>
            <a:off x="0" y="0"/>
            <a:ext cx="3429000" cy="3429000"/>
          </a:xfrm>
          <a:custGeom>
            <a:avLst/>
            <a:gdLst>
              <a:gd name="connsiteX0" fmla="*/ 0 w 3429000"/>
              <a:gd name="connsiteY0" fmla="*/ 0 h 3429000"/>
              <a:gd name="connsiteX1" fmla="*/ 3429000 w 3429000"/>
              <a:gd name="connsiteY1" fmla="*/ 0 h 3429000"/>
              <a:gd name="connsiteX2" fmla="*/ 3429000 w 3429000"/>
              <a:gd name="connsiteY2" fmla="*/ 3429000 h 3429000"/>
              <a:gd name="connsiteX3" fmla="*/ 0 w 34290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3429000" h="3429000">
                <a:moveTo>
                  <a:pt x="0" y="0"/>
                </a:moveTo>
                <a:lnTo>
                  <a:pt x="3429000" y="0"/>
                </a:lnTo>
                <a:lnTo>
                  <a:pt x="3429000" y="3429000"/>
                </a:lnTo>
                <a:lnTo>
                  <a:pt x="0" y="3429000"/>
                </a:lnTo>
                <a:close/>
              </a:path>
            </a:pathLst>
          </a:custGeom>
          <a:solidFill>
            <a:srgbClr val="002B45"/>
          </a:solidFill>
          <a:ln w="9525" cap="flat">
            <a:noFill/>
            <a:prstDash val="solid"/>
            <a:miter/>
          </a:ln>
        </p:spPr>
        <p:txBody>
          <a:bodyPr rtlCol="0" anchor="ctr"/>
          <a:lstStyle/>
          <a:p>
            <a:endParaRPr lang="en-GB"/>
          </a:p>
        </p:txBody>
      </p:sp>
      <p:sp>
        <p:nvSpPr>
          <p:cNvPr id="12" name="Freeform: Shape 11">
            <a:extLst>
              <a:ext uri="{FF2B5EF4-FFF2-40B4-BE49-F238E27FC236}">
                <a16:creationId xmlns:a16="http://schemas.microsoft.com/office/drawing/2014/main" id="{E0B2F5FA-8303-7C4F-D1A2-9E72845BB8EB}"/>
              </a:ext>
            </a:extLst>
          </p:cNvPr>
          <p:cNvSpPr/>
          <p:nvPr/>
        </p:nvSpPr>
        <p:spPr bwMode="white">
          <a:xfrm>
            <a:off x="312419" y="380047"/>
            <a:ext cx="2051570" cy="806767"/>
          </a:xfrm>
          <a:custGeom>
            <a:avLst/>
            <a:gdLst>
              <a:gd name="connsiteX0" fmla="*/ 473393 w 2051570"/>
              <a:gd name="connsiteY0" fmla="*/ 658178 h 806767"/>
              <a:gd name="connsiteX1" fmla="*/ 596265 w 2051570"/>
              <a:gd name="connsiteY1" fmla="*/ 715328 h 806767"/>
              <a:gd name="connsiteX2" fmla="*/ 648653 w 2051570"/>
              <a:gd name="connsiteY2" fmla="*/ 706755 h 806767"/>
              <a:gd name="connsiteX3" fmla="*/ 648653 w 2051570"/>
              <a:gd name="connsiteY3" fmla="*/ 791528 h 806767"/>
              <a:gd name="connsiteX4" fmla="*/ 577215 w 2051570"/>
              <a:gd name="connsiteY4" fmla="*/ 806768 h 806767"/>
              <a:gd name="connsiteX5" fmla="*/ 400050 w 2051570"/>
              <a:gd name="connsiteY5" fmla="*/ 720090 h 806767"/>
              <a:gd name="connsiteX6" fmla="*/ 364808 w 2051570"/>
              <a:gd name="connsiteY6" fmla="*/ 685800 h 806767"/>
              <a:gd name="connsiteX7" fmla="*/ 330518 w 2051570"/>
              <a:gd name="connsiteY7" fmla="*/ 687705 h 806767"/>
              <a:gd name="connsiteX8" fmla="*/ 0 w 2051570"/>
              <a:gd name="connsiteY8" fmla="*/ 343853 h 806767"/>
              <a:gd name="connsiteX9" fmla="*/ 330518 w 2051570"/>
              <a:gd name="connsiteY9" fmla="*/ 0 h 806767"/>
              <a:gd name="connsiteX10" fmla="*/ 661988 w 2051570"/>
              <a:gd name="connsiteY10" fmla="*/ 343853 h 806767"/>
              <a:gd name="connsiteX11" fmla="*/ 473393 w 2051570"/>
              <a:gd name="connsiteY11" fmla="*/ 658178 h 806767"/>
              <a:gd name="connsiteX12" fmla="*/ 109538 w 2051570"/>
              <a:gd name="connsiteY12" fmla="*/ 343853 h 806767"/>
              <a:gd name="connsiteX13" fmla="*/ 330518 w 2051570"/>
              <a:gd name="connsiteY13" fmla="*/ 593407 h 806767"/>
              <a:gd name="connsiteX14" fmla="*/ 552450 w 2051570"/>
              <a:gd name="connsiteY14" fmla="*/ 343853 h 806767"/>
              <a:gd name="connsiteX15" fmla="*/ 330518 w 2051570"/>
              <a:gd name="connsiteY15" fmla="*/ 94297 h 806767"/>
              <a:gd name="connsiteX16" fmla="*/ 109538 w 2051570"/>
              <a:gd name="connsiteY16" fmla="*/ 343853 h 806767"/>
              <a:gd name="connsiteX17" fmla="*/ 1354312 w 2051570"/>
              <a:gd name="connsiteY17" fmla="*/ 290513 h 806767"/>
              <a:gd name="connsiteX18" fmla="*/ 1354312 w 2051570"/>
              <a:gd name="connsiteY18" fmla="*/ 377190 h 806767"/>
              <a:gd name="connsiteX19" fmla="*/ 1233345 w 2051570"/>
              <a:gd name="connsiteY19" fmla="*/ 377190 h 806767"/>
              <a:gd name="connsiteX20" fmla="*/ 1233345 w 2051570"/>
              <a:gd name="connsiteY20" fmla="*/ 508635 h 806767"/>
              <a:gd name="connsiteX21" fmla="*/ 1305735 w 2051570"/>
              <a:gd name="connsiteY21" fmla="*/ 599123 h 806767"/>
              <a:gd name="connsiteX22" fmla="*/ 1354312 w 2051570"/>
              <a:gd name="connsiteY22" fmla="*/ 588645 h 806767"/>
              <a:gd name="connsiteX23" fmla="*/ 1354312 w 2051570"/>
              <a:gd name="connsiteY23" fmla="*/ 674370 h 806767"/>
              <a:gd name="connsiteX24" fmla="*/ 1277160 w 2051570"/>
              <a:gd name="connsiteY24" fmla="*/ 687705 h 806767"/>
              <a:gd name="connsiteX25" fmla="*/ 1149525 w 2051570"/>
              <a:gd name="connsiteY25" fmla="*/ 580073 h 806767"/>
              <a:gd name="connsiteX26" fmla="*/ 1141905 w 2051570"/>
              <a:gd name="connsiteY26" fmla="*/ 580073 h 806767"/>
              <a:gd name="connsiteX27" fmla="*/ 955215 w 2051570"/>
              <a:gd name="connsiteY27" fmla="*/ 687705 h 806767"/>
              <a:gd name="connsiteX28" fmla="*/ 749475 w 2051570"/>
              <a:gd name="connsiteY28" fmla="*/ 498157 h 806767"/>
              <a:gd name="connsiteX29" fmla="*/ 865680 w 2051570"/>
              <a:gd name="connsiteY29" fmla="*/ 333375 h 806767"/>
              <a:gd name="connsiteX30" fmla="*/ 865680 w 2051570"/>
              <a:gd name="connsiteY30" fmla="*/ 326707 h 806767"/>
              <a:gd name="connsiteX31" fmla="*/ 767572 w 2051570"/>
              <a:gd name="connsiteY31" fmla="*/ 186690 h 806767"/>
              <a:gd name="connsiteX32" fmla="*/ 998077 w 2051570"/>
              <a:gd name="connsiteY32" fmla="*/ 952 h 806767"/>
              <a:gd name="connsiteX33" fmla="*/ 1229535 w 2051570"/>
              <a:gd name="connsiteY33" fmla="*/ 191452 h 806767"/>
              <a:gd name="connsiteX34" fmla="*/ 1121902 w 2051570"/>
              <a:gd name="connsiteY34" fmla="*/ 191452 h 806767"/>
              <a:gd name="connsiteX35" fmla="*/ 997125 w 2051570"/>
              <a:gd name="connsiteY35" fmla="*/ 92392 h 806767"/>
              <a:gd name="connsiteX36" fmla="*/ 870442 w 2051570"/>
              <a:gd name="connsiteY36" fmla="*/ 192405 h 806767"/>
              <a:gd name="connsiteX37" fmla="*/ 988552 w 2051570"/>
              <a:gd name="connsiteY37" fmla="*/ 290513 h 806767"/>
              <a:gd name="connsiteX38" fmla="*/ 1354312 w 2051570"/>
              <a:gd name="connsiteY38" fmla="*/ 290513 h 806767"/>
              <a:gd name="connsiteX39" fmla="*/ 976170 w 2051570"/>
              <a:gd name="connsiteY39" fmla="*/ 596265 h 806767"/>
              <a:gd name="connsiteX40" fmla="*/ 1134285 w 2051570"/>
              <a:gd name="connsiteY40" fmla="*/ 429578 h 806767"/>
              <a:gd name="connsiteX41" fmla="*/ 1134285 w 2051570"/>
              <a:gd name="connsiteY41" fmla="*/ 377190 h 806767"/>
              <a:gd name="connsiteX42" fmla="*/ 986647 w 2051570"/>
              <a:gd name="connsiteY42" fmla="*/ 377190 h 806767"/>
              <a:gd name="connsiteX43" fmla="*/ 854250 w 2051570"/>
              <a:gd name="connsiteY43" fmla="*/ 486728 h 806767"/>
              <a:gd name="connsiteX44" fmla="*/ 976170 w 2051570"/>
              <a:gd name="connsiteY44" fmla="*/ 596265 h 806767"/>
              <a:gd name="connsiteX45" fmla="*/ 2051571 w 2051570"/>
              <a:gd name="connsiteY45" fmla="*/ 677228 h 806767"/>
              <a:gd name="connsiteX46" fmla="*/ 1941081 w 2051570"/>
              <a:gd name="connsiteY46" fmla="*/ 677228 h 806767"/>
              <a:gd name="connsiteX47" fmla="*/ 1876311 w 2051570"/>
              <a:gd name="connsiteY47" fmla="*/ 500063 h 806767"/>
              <a:gd name="connsiteX48" fmla="*/ 1571511 w 2051570"/>
              <a:gd name="connsiteY48" fmla="*/ 500063 h 806767"/>
              <a:gd name="connsiteX49" fmla="*/ 1506741 w 2051570"/>
              <a:gd name="connsiteY49" fmla="*/ 677228 h 806767"/>
              <a:gd name="connsiteX50" fmla="*/ 1395298 w 2051570"/>
              <a:gd name="connsiteY50" fmla="*/ 677228 h 806767"/>
              <a:gd name="connsiteX51" fmla="*/ 1646758 w 2051570"/>
              <a:gd name="connsiteY51" fmla="*/ 10477 h 806767"/>
              <a:gd name="connsiteX52" fmla="*/ 1801063 w 2051570"/>
              <a:gd name="connsiteY52" fmla="*/ 10477 h 806767"/>
              <a:gd name="connsiteX53" fmla="*/ 2051571 w 2051570"/>
              <a:gd name="connsiteY53" fmla="*/ 677228 h 806767"/>
              <a:gd name="connsiteX54" fmla="*/ 1717243 w 2051570"/>
              <a:gd name="connsiteY54" fmla="*/ 102870 h 806767"/>
              <a:gd name="connsiteX55" fmla="*/ 1604848 w 2051570"/>
              <a:gd name="connsiteY55" fmla="*/ 410528 h 806767"/>
              <a:gd name="connsiteX56" fmla="*/ 1842973 w 2051570"/>
              <a:gd name="connsiteY56" fmla="*/ 410528 h 806767"/>
              <a:gd name="connsiteX57" fmla="*/ 1729626 w 2051570"/>
              <a:gd name="connsiteY57" fmla="*/ 102870 h 806767"/>
              <a:gd name="connsiteX58" fmla="*/ 1717243 w 2051570"/>
              <a:gd name="connsiteY58" fmla="*/ 102870 h 806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2051570" h="806767">
                <a:moveTo>
                  <a:pt x="473393" y="658178"/>
                </a:moveTo>
                <a:cubicBezTo>
                  <a:pt x="512445" y="695325"/>
                  <a:pt x="553403" y="715328"/>
                  <a:pt x="596265" y="715328"/>
                </a:cubicBezTo>
                <a:cubicBezTo>
                  <a:pt x="613410" y="715328"/>
                  <a:pt x="634365" y="712470"/>
                  <a:pt x="648653" y="706755"/>
                </a:cubicBezTo>
                <a:lnTo>
                  <a:pt x="648653" y="791528"/>
                </a:lnTo>
                <a:cubicBezTo>
                  <a:pt x="626745" y="802005"/>
                  <a:pt x="601980" y="806768"/>
                  <a:pt x="577215" y="806768"/>
                </a:cubicBezTo>
                <a:cubicBezTo>
                  <a:pt x="521018" y="806768"/>
                  <a:pt x="461963" y="781050"/>
                  <a:pt x="400050" y="720090"/>
                </a:cubicBezTo>
                <a:lnTo>
                  <a:pt x="364808" y="685800"/>
                </a:lnTo>
                <a:cubicBezTo>
                  <a:pt x="353378" y="686753"/>
                  <a:pt x="341947" y="687705"/>
                  <a:pt x="330518" y="687705"/>
                </a:cubicBezTo>
                <a:cubicBezTo>
                  <a:pt x="146685" y="687705"/>
                  <a:pt x="0" y="555307"/>
                  <a:pt x="0" y="343853"/>
                </a:cubicBezTo>
                <a:cubicBezTo>
                  <a:pt x="0" y="132397"/>
                  <a:pt x="145733" y="0"/>
                  <a:pt x="330518" y="0"/>
                </a:cubicBezTo>
                <a:cubicBezTo>
                  <a:pt x="514350" y="0"/>
                  <a:pt x="661988" y="132397"/>
                  <a:pt x="661988" y="343853"/>
                </a:cubicBezTo>
                <a:cubicBezTo>
                  <a:pt x="661988" y="496253"/>
                  <a:pt x="584835" y="607695"/>
                  <a:pt x="473393" y="658178"/>
                </a:cubicBezTo>
                <a:close/>
                <a:moveTo>
                  <a:pt x="109538" y="343853"/>
                </a:moveTo>
                <a:cubicBezTo>
                  <a:pt x="109538" y="503873"/>
                  <a:pt x="209550" y="593407"/>
                  <a:pt x="330518" y="593407"/>
                </a:cubicBezTo>
                <a:cubicBezTo>
                  <a:pt x="450533" y="593407"/>
                  <a:pt x="552450" y="503873"/>
                  <a:pt x="552450" y="343853"/>
                </a:cubicBezTo>
                <a:cubicBezTo>
                  <a:pt x="552450" y="183833"/>
                  <a:pt x="450533" y="94297"/>
                  <a:pt x="330518" y="94297"/>
                </a:cubicBezTo>
                <a:cubicBezTo>
                  <a:pt x="209550" y="94297"/>
                  <a:pt x="109538" y="183833"/>
                  <a:pt x="109538" y="343853"/>
                </a:cubicBezTo>
                <a:close/>
                <a:moveTo>
                  <a:pt x="1354312" y="290513"/>
                </a:moveTo>
                <a:lnTo>
                  <a:pt x="1354312" y="377190"/>
                </a:lnTo>
                <a:lnTo>
                  <a:pt x="1233345" y="377190"/>
                </a:lnTo>
                <a:lnTo>
                  <a:pt x="1233345" y="508635"/>
                </a:lnTo>
                <a:cubicBezTo>
                  <a:pt x="1233345" y="579120"/>
                  <a:pt x="1262872" y="599123"/>
                  <a:pt x="1305735" y="599123"/>
                </a:cubicBezTo>
                <a:cubicBezTo>
                  <a:pt x="1321927" y="599123"/>
                  <a:pt x="1339072" y="596265"/>
                  <a:pt x="1354312" y="588645"/>
                </a:cubicBezTo>
                <a:lnTo>
                  <a:pt x="1354312" y="674370"/>
                </a:lnTo>
                <a:cubicBezTo>
                  <a:pt x="1330500" y="682943"/>
                  <a:pt x="1303830" y="687705"/>
                  <a:pt x="1277160" y="687705"/>
                </a:cubicBezTo>
                <a:cubicBezTo>
                  <a:pt x="1210485" y="687705"/>
                  <a:pt x="1163812" y="657225"/>
                  <a:pt x="1149525" y="580073"/>
                </a:cubicBezTo>
                <a:lnTo>
                  <a:pt x="1141905" y="580073"/>
                </a:lnTo>
                <a:cubicBezTo>
                  <a:pt x="1108567" y="648653"/>
                  <a:pt x="1045702" y="687705"/>
                  <a:pt x="955215" y="687705"/>
                </a:cubicBezTo>
                <a:cubicBezTo>
                  <a:pt x="819960" y="687705"/>
                  <a:pt x="749475" y="602932"/>
                  <a:pt x="749475" y="498157"/>
                </a:cubicBezTo>
                <a:cubicBezTo>
                  <a:pt x="749475" y="417195"/>
                  <a:pt x="791385" y="360998"/>
                  <a:pt x="865680" y="333375"/>
                </a:cubicBezTo>
                <a:lnTo>
                  <a:pt x="865680" y="326707"/>
                </a:lnTo>
                <a:cubicBezTo>
                  <a:pt x="799005" y="301942"/>
                  <a:pt x="767572" y="247650"/>
                  <a:pt x="767572" y="186690"/>
                </a:cubicBezTo>
                <a:cubicBezTo>
                  <a:pt x="767572" y="80963"/>
                  <a:pt x="856155" y="952"/>
                  <a:pt x="998077" y="952"/>
                </a:cubicBezTo>
                <a:cubicBezTo>
                  <a:pt x="1131427" y="952"/>
                  <a:pt x="1219057" y="66675"/>
                  <a:pt x="1229535" y="191452"/>
                </a:cubicBezTo>
                <a:lnTo>
                  <a:pt x="1121902" y="191452"/>
                </a:lnTo>
                <a:cubicBezTo>
                  <a:pt x="1111425" y="123825"/>
                  <a:pt x="1060942" y="92392"/>
                  <a:pt x="997125" y="92392"/>
                </a:cubicBezTo>
                <a:cubicBezTo>
                  <a:pt x="920925" y="92392"/>
                  <a:pt x="870442" y="134302"/>
                  <a:pt x="870442" y="192405"/>
                </a:cubicBezTo>
                <a:cubicBezTo>
                  <a:pt x="870442" y="247650"/>
                  <a:pt x="914257" y="290513"/>
                  <a:pt x="988552" y="290513"/>
                </a:cubicBezTo>
                <a:lnTo>
                  <a:pt x="1354312" y="290513"/>
                </a:lnTo>
                <a:close/>
                <a:moveTo>
                  <a:pt x="976170" y="596265"/>
                </a:moveTo>
                <a:cubicBezTo>
                  <a:pt x="1055227" y="596265"/>
                  <a:pt x="1134285" y="538163"/>
                  <a:pt x="1134285" y="429578"/>
                </a:cubicBezTo>
                <a:lnTo>
                  <a:pt x="1134285" y="377190"/>
                </a:lnTo>
                <a:lnTo>
                  <a:pt x="986647" y="377190"/>
                </a:lnTo>
                <a:cubicBezTo>
                  <a:pt x="900922" y="377190"/>
                  <a:pt x="854250" y="422910"/>
                  <a:pt x="854250" y="486728"/>
                </a:cubicBezTo>
                <a:cubicBezTo>
                  <a:pt x="854250" y="556260"/>
                  <a:pt x="910447" y="596265"/>
                  <a:pt x="976170" y="596265"/>
                </a:cubicBezTo>
                <a:close/>
                <a:moveTo>
                  <a:pt x="2051571" y="677228"/>
                </a:moveTo>
                <a:lnTo>
                  <a:pt x="1941081" y="677228"/>
                </a:lnTo>
                <a:lnTo>
                  <a:pt x="1876311" y="500063"/>
                </a:lnTo>
                <a:lnTo>
                  <a:pt x="1571511" y="500063"/>
                </a:lnTo>
                <a:lnTo>
                  <a:pt x="1506741" y="677228"/>
                </a:lnTo>
                <a:lnTo>
                  <a:pt x="1395298" y="677228"/>
                </a:lnTo>
                <a:lnTo>
                  <a:pt x="1646758" y="10477"/>
                </a:lnTo>
                <a:lnTo>
                  <a:pt x="1801063" y="10477"/>
                </a:lnTo>
                <a:lnTo>
                  <a:pt x="2051571" y="677228"/>
                </a:lnTo>
                <a:close/>
                <a:moveTo>
                  <a:pt x="1717243" y="102870"/>
                </a:moveTo>
                <a:lnTo>
                  <a:pt x="1604848" y="410528"/>
                </a:lnTo>
                <a:lnTo>
                  <a:pt x="1842973" y="410528"/>
                </a:lnTo>
                <a:lnTo>
                  <a:pt x="1729626" y="102870"/>
                </a:lnTo>
                <a:lnTo>
                  <a:pt x="1717243" y="102870"/>
                </a:lnTo>
                <a:close/>
              </a:path>
            </a:pathLst>
          </a:custGeom>
          <a:solidFill>
            <a:srgbClr val="FFFFFF"/>
          </a:solidFill>
          <a:ln w="9525" cap="flat">
            <a:noFill/>
            <a:prstDash val="solid"/>
            <a:miter/>
          </a:ln>
        </p:spPr>
        <p:txBody>
          <a:bodyPr rtlCol="0" anchor="ctr"/>
          <a:lstStyle/>
          <a:p>
            <a:endParaRPr lang="en-GB"/>
          </a:p>
        </p:txBody>
      </p:sp>
      <p:grpSp>
        <p:nvGrpSpPr>
          <p:cNvPr id="13" name="Graphic 2">
            <a:extLst>
              <a:ext uri="{FF2B5EF4-FFF2-40B4-BE49-F238E27FC236}">
                <a16:creationId xmlns:a16="http://schemas.microsoft.com/office/drawing/2014/main" id="{382848DB-2640-165A-7401-48AD602A2C27}"/>
              </a:ext>
            </a:extLst>
          </p:cNvPr>
          <p:cNvGrpSpPr/>
          <p:nvPr/>
        </p:nvGrpSpPr>
        <p:grpSpPr bwMode="white">
          <a:xfrm>
            <a:off x="10934700" y="6257894"/>
            <a:ext cx="991076" cy="333438"/>
            <a:chOff x="10934700" y="6257894"/>
            <a:chExt cx="991076" cy="333438"/>
          </a:xfrm>
          <a:solidFill>
            <a:srgbClr val="FFFFFF"/>
          </a:solidFill>
        </p:grpSpPr>
        <p:sp>
          <p:nvSpPr>
            <p:cNvPr id="14" name="Freeform: Shape 13">
              <a:extLst>
                <a:ext uri="{FF2B5EF4-FFF2-40B4-BE49-F238E27FC236}">
                  <a16:creationId xmlns:a16="http://schemas.microsoft.com/office/drawing/2014/main" id="{A10A8B3D-107A-59D9-360D-624FBD944AAE}"/>
                </a:ext>
              </a:extLst>
            </p:cNvPr>
            <p:cNvSpPr/>
            <p:nvPr/>
          </p:nvSpPr>
          <p:spPr bwMode="white">
            <a:xfrm>
              <a:off x="11815857" y="6346774"/>
              <a:ext cx="109918" cy="155762"/>
            </a:xfrm>
            <a:custGeom>
              <a:avLst/>
              <a:gdLst>
                <a:gd name="connsiteX0" fmla="*/ 78867 w 109918"/>
                <a:gd name="connsiteY0" fmla="*/ 68389 h 155762"/>
                <a:gd name="connsiteX1" fmla="*/ 43910 w 109918"/>
                <a:gd name="connsiteY1" fmla="*/ 57178 h 155762"/>
                <a:gd name="connsiteX2" fmla="*/ 34004 w 109918"/>
                <a:gd name="connsiteY2" fmla="*/ 45082 h 155762"/>
                <a:gd name="connsiteX3" fmla="*/ 34004 w 109918"/>
                <a:gd name="connsiteY3" fmla="*/ 41996 h 155762"/>
                <a:gd name="connsiteX4" fmla="*/ 48863 w 109918"/>
                <a:gd name="connsiteY4" fmla="*/ 30994 h 155762"/>
                <a:gd name="connsiteX5" fmla="*/ 96964 w 109918"/>
                <a:gd name="connsiteY5" fmla="*/ 31652 h 155762"/>
                <a:gd name="connsiteX6" fmla="*/ 100583 w 109918"/>
                <a:gd name="connsiteY6" fmla="*/ 28147 h 155762"/>
                <a:gd name="connsiteX7" fmla="*/ 100583 w 109918"/>
                <a:gd name="connsiteY7" fmla="*/ 4172 h 155762"/>
                <a:gd name="connsiteX8" fmla="*/ 96964 w 109918"/>
                <a:gd name="connsiteY8" fmla="*/ 667 h 155762"/>
                <a:gd name="connsiteX9" fmla="*/ 44196 w 109918"/>
                <a:gd name="connsiteY9" fmla="*/ 0 h 155762"/>
                <a:gd name="connsiteX10" fmla="*/ 0 w 109918"/>
                <a:gd name="connsiteY10" fmla="*/ 37157 h 155762"/>
                <a:gd name="connsiteX11" fmla="*/ 0 w 109918"/>
                <a:gd name="connsiteY11" fmla="*/ 49035 h 155762"/>
                <a:gd name="connsiteX12" fmla="*/ 31147 w 109918"/>
                <a:gd name="connsiteY12" fmla="*/ 85753 h 155762"/>
                <a:gd name="connsiteX13" fmla="*/ 65818 w 109918"/>
                <a:gd name="connsiteY13" fmla="*/ 96745 h 155762"/>
                <a:gd name="connsiteX14" fmla="*/ 75723 w 109918"/>
                <a:gd name="connsiteY14" fmla="*/ 109499 h 155762"/>
                <a:gd name="connsiteX15" fmla="*/ 75723 w 109918"/>
                <a:gd name="connsiteY15" fmla="*/ 113052 h 155762"/>
                <a:gd name="connsiteX16" fmla="*/ 61151 w 109918"/>
                <a:gd name="connsiteY16" fmla="*/ 124768 h 155762"/>
                <a:gd name="connsiteX17" fmla="*/ 4858 w 109918"/>
                <a:gd name="connsiteY17" fmla="*/ 124092 h 155762"/>
                <a:gd name="connsiteX18" fmla="*/ 1238 w 109918"/>
                <a:gd name="connsiteY18" fmla="*/ 127625 h 155762"/>
                <a:gd name="connsiteX19" fmla="*/ 1238 w 109918"/>
                <a:gd name="connsiteY19" fmla="*/ 151590 h 155762"/>
                <a:gd name="connsiteX20" fmla="*/ 4858 w 109918"/>
                <a:gd name="connsiteY20" fmla="*/ 155105 h 155762"/>
                <a:gd name="connsiteX21" fmla="*/ 65818 w 109918"/>
                <a:gd name="connsiteY21" fmla="*/ 155763 h 155762"/>
                <a:gd name="connsiteX22" fmla="*/ 109919 w 109918"/>
                <a:gd name="connsiteY22" fmla="*/ 117453 h 155762"/>
                <a:gd name="connsiteX23" fmla="*/ 109919 w 109918"/>
                <a:gd name="connsiteY23" fmla="*/ 105356 h 155762"/>
                <a:gd name="connsiteX24" fmla="*/ 78867 w 109918"/>
                <a:gd name="connsiteY24" fmla="*/ 68389 h 15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09918" h="155762">
                  <a:moveTo>
                    <a:pt x="78867" y="68389"/>
                  </a:moveTo>
                  <a:lnTo>
                    <a:pt x="43910" y="57178"/>
                  </a:lnTo>
                  <a:cubicBezTo>
                    <a:pt x="36005" y="54740"/>
                    <a:pt x="34004" y="53207"/>
                    <a:pt x="34004" y="45082"/>
                  </a:cubicBezTo>
                  <a:lnTo>
                    <a:pt x="34004" y="41996"/>
                  </a:lnTo>
                  <a:cubicBezTo>
                    <a:pt x="34004" y="30994"/>
                    <a:pt x="38291" y="30994"/>
                    <a:pt x="48863" y="30994"/>
                  </a:cubicBezTo>
                  <a:cubicBezTo>
                    <a:pt x="71151" y="30994"/>
                    <a:pt x="96964" y="31652"/>
                    <a:pt x="96964" y="31652"/>
                  </a:cubicBezTo>
                  <a:cubicBezTo>
                    <a:pt x="99631" y="31652"/>
                    <a:pt x="100583" y="30775"/>
                    <a:pt x="100583" y="28147"/>
                  </a:cubicBezTo>
                  <a:lnTo>
                    <a:pt x="100583" y="4172"/>
                  </a:lnTo>
                  <a:cubicBezTo>
                    <a:pt x="100583" y="1543"/>
                    <a:pt x="99631" y="667"/>
                    <a:pt x="96964" y="667"/>
                  </a:cubicBezTo>
                  <a:cubicBezTo>
                    <a:pt x="96964" y="667"/>
                    <a:pt x="68770" y="0"/>
                    <a:pt x="44196" y="0"/>
                  </a:cubicBezTo>
                  <a:cubicBezTo>
                    <a:pt x="16192" y="0"/>
                    <a:pt x="0" y="11716"/>
                    <a:pt x="0" y="37157"/>
                  </a:cubicBezTo>
                  <a:lnTo>
                    <a:pt x="0" y="49035"/>
                  </a:lnTo>
                  <a:cubicBezTo>
                    <a:pt x="0" y="76515"/>
                    <a:pt x="16001" y="81143"/>
                    <a:pt x="31147" y="85753"/>
                  </a:cubicBezTo>
                  <a:lnTo>
                    <a:pt x="65818" y="96745"/>
                  </a:lnTo>
                  <a:cubicBezTo>
                    <a:pt x="73723" y="99165"/>
                    <a:pt x="75723" y="101375"/>
                    <a:pt x="75723" y="109499"/>
                  </a:cubicBezTo>
                  <a:lnTo>
                    <a:pt x="75723" y="113052"/>
                  </a:lnTo>
                  <a:cubicBezTo>
                    <a:pt x="75723" y="124034"/>
                    <a:pt x="71724" y="124768"/>
                    <a:pt x="61151" y="124768"/>
                  </a:cubicBezTo>
                  <a:cubicBezTo>
                    <a:pt x="37052" y="124768"/>
                    <a:pt x="4858" y="124092"/>
                    <a:pt x="4858" y="124092"/>
                  </a:cubicBezTo>
                  <a:cubicBezTo>
                    <a:pt x="2095" y="124092"/>
                    <a:pt x="1238" y="124987"/>
                    <a:pt x="1238" y="127625"/>
                  </a:cubicBezTo>
                  <a:lnTo>
                    <a:pt x="1238" y="151590"/>
                  </a:lnTo>
                  <a:cubicBezTo>
                    <a:pt x="1238" y="154229"/>
                    <a:pt x="2095" y="155105"/>
                    <a:pt x="4858" y="155105"/>
                  </a:cubicBezTo>
                  <a:cubicBezTo>
                    <a:pt x="4858" y="155105"/>
                    <a:pt x="37623" y="155763"/>
                    <a:pt x="65818" y="155763"/>
                  </a:cubicBezTo>
                  <a:cubicBezTo>
                    <a:pt x="94012" y="155763"/>
                    <a:pt x="109919" y="142923"/>
                    <a:pt x="109919" y="117453"/>
                  </a:cubicBezTo>
                  <a:lnTo>
                    <a:pt x="109919" y="105356"/>
                  </a:lnTo>
                  <a:cubicBezTo>
                    <a:pt x="109919" y="77610"/>
                    <a:pt x="93726" y="73000"/>
                    <a:pt x="78867" y="68389"/>
                  </a:cubicBezTo>
                  <a:close/>
                </a:path>
              </a:pathLst>
            </a:custGeom>
            <a:solidFill>
              <a:srgbClr val="FFFFFF"/>
            </a:solidFill>
            <a:ln w="9525" cap="flat">
              <a:noFill/>
              <a:prstDash val="solid"/>
              <a:miter/>
            </a:ln>
          </p:spPr>
          <p:txBody>
            <a:bodyPr rtlCol="0" anchor="ctr"/>
            <a:lstStyle/>
            <a:p>
              <a:endParaRPr lang="en-GB"/>
            </a:p>
          </p:txBody>
        </p:sp>
        <p:sp>
          <p:nvSpPr>
            <p:cNvPr id="15" name="Freeform: Shape 14">
              <a:extLst>
                <a:ext uri="{FF2B5EF4-FFF2-40B4-BE49-F238E27FC236}">
                  <a16:creationId xmlns:a16="http://schemas.microsoft.com/office/drawing/2014/main" id="{1D716BB6-3AEE-FC98-A792-A40D837E149D}"/>
                </a:ext>
              </a:extLst>
            </p:cNvPr>
            <p:cNvSpPr/>
            <p:nvPr/>
          </p:nvSpPr>
          <p:spPr bwMode="white">
            <a:xfrm>
              <a:off x="11677745" y="6347878"/>
              <a:ext cx="120586" cy="153533"/>
            </a:xfrm>
            <a:custGeom>
              <a:avLst/>
              <a:gdLst>
                <a:gd name="connsiteX0" fmla="*/ 76391 w 120586"/>
                <a:gd name="connsiteY0" fmla="*/ 0 h 153533"/>
                <a:gd name="connsiteX1" fmla="*/ 3620 w 120586"/>
                <a:gd name="connsiteY1" fmla="*/ 0 h 153533"/>
                <a:gd name="connsiteX2" fmla="*/ 0 w 120586"/>
                <a:gd name="connsiteY2" fmla="*/ 3506 h 153533"/>
                <a:gd name="connsiteX3" fmla="*/ 0 w 120586"/>
                <a:gd name="connsiteY3" fmla="*/ 150019 h 153533"/>
                <a:gd name="connsiteX4" fmla="*/ 3620 w 120586"/>
                <a:gd name="connsiteY4" fmla="*/ 153534 h 153533"/>
                <a:gd name="connsiteX5" fmla="*/ 76391 w 120586"/>
                <a:gd name="connsiteY5" fmla="*/ 153534 h 153533"/>
                <a:gd name="connsiteX6" fmla="*/ 120587 w 120586"/>
                <a:gd name="connsiteY6" fmla="*/ 112862 h 153533"/>
                <a:gd name="connsiteX7" fmla="*/ 120587 w 120586"/>
                <a:gd name="connsiteY7" fmla="*/ 40672 h 153533"/>
                <a:gd name="connsiteX8" fmla="*/ 76391 w 120586"/>
                <a:gd name="connsiteY8" fmla="*/ 0 h 153533"/>
                <a:gd name="connsiteX9" fmla="*/ 86582 w 120586"/>
                <a:gd name="connsiteY9" fmla="*/ 107080 h 153533"/>
                <a:gd name="connsiteX10" fmla="*/ 71628 w 120586"/>
                <a:gd name="connsiteY10" fmla="*/ 122463 h 153533"/>
                <a:gd name="connsiteX11" fmla="*/ 34099 w 120586"/>
                <a:gd name="connsiteY11" fmla="*/ 122463 h 153533"/>
                <a:gd name="connsiteX12" fmla="*/ 34099 w 120586"/>
                <a:gd name="connsiteY12" fmla="*/ 30995 h 153533"/>
                <a:gd name="connsiteX13" fmla="*/ 71628 w 120586"/>
                <a:gd name="connsiteY13" fmla="*/ 30995 h 153533"/>
                <a:gd name="connsiteX14" fmla="*/ 86582 w 120586"/>
                <a:gd name="connsiteY14" fmla="*/ 46387 h 153533"/>
                <a:gd name="connsiteX15" fmla="*/ 86582 w 120586"/>
                <a:gd name="connsiteY15" fmla="*/ 107080 h 153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0586" h="153533">
                  <a:moveTo>
                    <a:pt x="76391" y="0"/>
                  </a:moveTo>
                  <a:lnTo>
                    <a:pt x="3620" y="0"/>
                  </a:lnTo>
                  <a:cubicBezTo>
                    <a:pt x="857" y="0"/>
                    <a:pt x="0" y="877"/>
                    <a:pt x="0" y="3506"/>
                  </a:cubicBezTo>
                  <a:lnTo>
                    <a:pt x="0" y="150019"/>
                  </a:lnTo>
                  <a:cubicBezTo>
                    <a:pt x="0" y="152648"/>
                    <a:pt x="857" y="153534"/>
                    <a:pt x="3620" y="153534"/>
                  </a:cubicBezTo>
                  <a:lnTo>
                    <a:pt x="76391" y="153534"/>
                  </a:lnTo>
                  <a:cubicBezTo>
                    <a:pt x="104394" y="153534"/>
                    <a:pt x="120587" y="138360"/>
                    <a:pt x="120587" y="112862"/>
                  </a:cubicBezTo>
                  <a:lnTo>
                    <a:pt x="120587" y="40672"/>
                  </a:lnTo>
                  <a:cubicBezTo>
                    <a:pt x="120587" y="15164"/>
                    <a:pt x="104394" y="0"/>
                    <a:pt x="76391" y="0"/>
                  </a:cubicBezTo>
                  <a:close/>
                  <a:moveTo>
                    <a:pt x="86582" y="107080"/>
                  </a:moveTo>
                  <a:cubicBezTo>
                    <a:pt x="86582" y="118072"/>
                    <a:pt x="82296" y="122463"/>
                    <a:pt x="71628" y="122463"/>
                  </a:cubicBezTo>
                  <a:lnTo>
                    <a:pt x="34099" y="122463"/>
                  </a:lnTo>
                  <a:lnTo>
                    <a:pt x="34099" y="30995"/>
                  </a:lnTo>
                  <a:lnTo>
                    <a:pt x="71628" y="30995"/>
                  </a:lnTo>
                  <a:cubicBezTo>
                    <a:pt x="82296" y="30995"/>
                    <a:pt x="86582" y="35386"/>
                    <a:pt x="86582" y="46387"/>
                  </a:cubicBezTo>
                  <a:lnTo>
                    <a:pt x="86582" y="107080"/>
                  </a:lnTo>
                  <a:close/>
                </a:path>
              </a:pathLst>
            </a:custGeom>
            <a:solidFill>
              <a:srgbClr val="FFFFFF"/>
            </a:solidFill>
            <a:ln w="9525" cap="flat">
              <a:noFill/>
              <a:prstDash val="solid"/>
              <a:miter/>
            </a:ln>
          </p:spPr>
          <p:txBody>
            <a:bodyPr rtlCol="0" anchor="ctr"/>
            <a:lstStyle/>
            <a:p>
              <a:endParaRPr lang="en-GB"/>
            </a:p>
          </p:txBody>
        </p:sp>
        <p:sp>
          <p:nvSpPr>
            <p:cNvPr id="16" name="Freeform: Shape 15">
              <a:extLst>
                <a:ext uri="{FF2B5EF4-FFF2-40B4-BE49-F238E27FC236}">
                  <a16:creationId xmlns:a16="http://schemas.microsoft.com/office/drawing/2014/main" id="{F4D78A42-C416-49B6-5BFC-25F8BCB068CB}"/>
                </a:ext>
              </a:extLst>
            </p:cNvPr>
            <p:cNvSpPr/>
            <p:nvPr/>
          </p:nvSpPr>
          <p:spPr bwMode="white">
            <a:xfrm>
              <a:off x="11555444" y="6347878"/>
              <a:ext cx="103916" cy="153533"/>
            </a:xfrm>
            <a:custGeom>
              <a:avLst/>
              <a:gdLst>
                <a:gd name="connsiteX0" fmla="*/ 100297 w 103916"/>
                <a:gd name="connsiteY0" fmla="*/ 0 h 153533"/>
                <a:gd name="connsiteX1" fmla="*/ 3524 w 103916"/>
                <a:gd name="connsiteY1" fmla="*/ 0 h 153533"/>
                <a:gd name="connsiteX2" fmla="*/ 0 w 103916"/>
                <a:gd name="connsiteY2" fmla="*/ 3506 h 153533"/>
                <a:gd name="connsiteX3" fmla="*/ 0 w 103916"/>
                <a:gd name="connsiteY3" fmla="*/ 150019 h 153533"/>
                <a:gd name="connsiteX4" fmla="*/ 3524 w 103916"/>
                <a:gd name="connsiteY4" fmla="*/ 153534 h 153533"/>
                <a:gd name="connsiteX5" fmla="*/ 30384 w 103916"/>
                <a:gd name="connsiteY5" fmla="*/ 153534 h 153533"/>
                <a:gd name="connsiteX6" fmla="*/ 34004 w 103916"/>
                <a:gd name="connsiteY6" fmla="*/ 150019 h 153533"/>
                <a:gd name="connsiteX7" fmla="*/ 34004 w 103916"/>
                <a:gd name="connsiteY7" fmla="*/ 95260 h 153533"/>
                <a:gd name="connsiteX8" fmla="*/ 91915 w 103916"/>
                <a:gd name="connsiteY8" fmla="*/ 95260 h 153533"/>
                <a:gd name="connsiteX9" fmla="*/ 95535 w 103916"/>
                <a:gd name="connsiteY9" fmla="*/ 91745 h 153533"/>
                <a:gd name="connsiteX10" fmla="*/ 95535 w 103916"/>
                <a:gd name="connsiteY10" fmla="*/ 67723 h 153533"/>
                <a:gd name="connsiteX11" fmla="*/ 91915 w 103916"/>
                <a:gd name="connsiteY11" fmla="*/ 64199 h 153533"/>
                <a:gd name="connsiteX12" fmla="*/ 34004 w 103916"/>
                <a:gd name="connsiteY12" fmla="*/ 64199 h 153533"/>
                <a:gd name="connsiteX13" fmla="*/ 34004 w 103916"/>
                <a:gd name="connsiteY13" fmla="*/ 30995 h 153533"/>
                <a:gd name="connsiteX14" fmla="*/ 100297 w 103916"/>
                <a:gd name="connsiteY14" fmla="*/ 30995 h 153533"/>
                <a:gd name="connsiteX15" fmla="*/ 103917 w 103916"/>
                <a:gd name="connsiteY15" fmla="*/ 27480 h 153533"/>
                <a:gd name="connsiteX16" fmla="*/ 103917 w 103916"/>
                <a:gd name="connsiteY16" fmla="*/ 3506 h 153533"/>
                <a:gd name="connsiteX17" fmla="*/ 100297 w 103916"/>
                <a:gd name="connsiteY17" fmla="*/ 0 h 153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3916" h="153533">
                  <a:moveTo>
                    <a:pt x="100297" y="0"/>
                  </a:moveTo>
                  <a:lnTo>
                    <a:pt x="3524" y="0"/>
                  </a:lnTo>
                  <a:cubicBezTo>
                    <a:pt x="857" y="0"/>
                    <a:pt x="0" y="877"/>
                    <a:pt x="0" y="3506"/>
                  </a:cubicBezTo>
                  <a:lnTo>
                    <a:pt x="0" y="150019"/>
                  </a:lnTo>
                  <a:cubicBezTo>
                    <a:pt x="0" y="152648"/>
                    <a:pt x="857" y="153534"/>
                    <a:pt x="3524" y="153534"/>
                  </a:cubicBezTo>
                  <a:lnTo>
                    <a:pt x="30384" y="153534"/>
                  </a:lnTo>
                  <a:cubicBezTo>
                    <a:pt x="33051" y="153534"/>
                    <a:pt x="34004" y="152648"/>
                    <a:pt x="34004" y="150019"/>
                  </a:cubicBezTo>
                  <a:lnTo>
                    <a:pt x="34004" y="95260"/>
                  </a:lnTo>
                  <a:lnTo>
                    <a:pt x="91915" y="95260"/>
                  </a:lnTo>
                  <a:cubicBezTo>
                    <a:pt x="94583" y="95260"/>
                    <a:pt x="95535" y="94384"/>
                    <a:pt x="95535" y="91745"/>
                  </a:cubicBezTo>
                  <a:lnTo>
                    <a:pt x="95535" y="67723"/>
                  </a:lnTo>
                  <a:cubicBezTo>
                    <a:pt x="95535" y="65075"/>
                    <a:pt x="94583" y="64199"/>
                    <a:pt x="91915" y="64199"/>
                  </a:cubicBezTo>
                  <a:lnTo>
                    <a:pt x="34004" y="64199"/>
                  </a:lnTo>
                  <a:lnTo>
                    <a:pt x="34004" y="30995"/>
                  </a:lnTo>
                  <a:lnTo>
                    <a:pt x="100297" y="30995"/>
                  </a:lnTo>
                  <a:cubicBezTo>
                    <a:pt x="102965" y="30995"/>
                    <a:pt x="103917" y="30109"/>
                    <a:pt x="103917" y="27480"/>
                  </a:cubicBezTo>
                  <a:lnTo>
                    <a:pt x="103917" y="3506"/>
                  </a:lnTo>
                  <a:cubicBezTo>
                    <a:pt x="103917" y="877"/>
                    <a:pt x="102965" y="0"/>
                    <a:pt x="100297" y="0"/>
                  </a:cubicBezTo>
                  <a:close/>
                </a:path>
              </a:pathLst>
            </a:custGeom>
            <a:solidFill>
              <a:srgbClr val="FFFFFF"/>
            </a:solidFill>
            <a:ln w="9525" cap="flat">
              <a:noFill/>
              <a:prstDash val="solid"/>
              <a:miter/>
            </a:ln>
          </p:spPr>
          <p:txBody>
            <a:bodyPr rtlCol="0" anchor="ctr"/>
            <a:lstStyle/>
            <a:p>
              <a:endParaRPr lang="en-GB"/>
            </a:p>
          </p:txBody>
        </p:sp>
        <p:sp>
          <p:nvSpPr>
            <p:cNvPr id="17" name="Freeform: Shape 16">
              <a:extLst>
                <a:ext uri="{FF2B5EF4-FFF2-40B4-BE49-F238E27FC236}">
                  <a16:creationId xmlns:a16="http://schemas.microsoft.com/office/drawing/2014/main" id="{DC094D07-E0AE-AE79-A522-9C3432FF53CD}"/>
                </a:ext>
              </a:extLst>
            </p:cNvPr>
            <p:cNvSpPr/>
            <p:nvPr/>
          </p:nvSpPr>
          <p:spPr bwMode="white">
            <a:xfrm>
              <a:off x="11412569" y="6347878"/>
              <a:ext cx="120681" cy="153533"/>
            </a:xfrm>
            <a:custGeom>
              <a:avLst/>
              <a:gdLst>
                <a:gd name="connsiteX0" fmla="*/ 76390 w 120681"/>
                <a:gd name="connsiteY0" fmla="*/ 0 h 153533"/>
                <a:gd name="connsiteX1" fmla="*/ 3620 w 120681"/>
                <a:gd name="connsiteY1" fmla="*/ 0 h 153533"/>
                <a:gd name="connsiteX2" fmla="*/ 0 w 120681"/>
                <a:gd name="connsiteY2" fmla="*/ 3506 h 153533"/>
                <a:gd name="connsiteX3" fmla="*/ 0 w 120681"/>
                <a:gd name="connsiteY3" fmla="*/ 150019 h 153533"/>
                <a:gd name="connsiteX4" fmla="*/ 3620 w 120681"/>
                <a:gd name="connsiteY4" fmla="*/ 153534 h 153533"/>
                <a:gd name="connsiteX5" fmla="*/ 76485 w 120681"/>
                <a:gd name="connsiteY5" fmla="*/ 153534 h 153533"/>
                <a:gd name="connsiteX6" fmla="*/ 120681 w 120681"/>
                <a:gd name="connsiteY6" fmla="*/ 112862 h 153533"/>
                <a:gd name="connsiteX7" fmla="*/ 120681 w 120681"/>
                <a:gd name="connsiteY7" fmla="*/ 40672 h 153533"/>
                <a:gd name="connsiteX8" fmla="*/ 76390 w 120681"/>
                <a:gd name="connsiteY8" fmla="*/ 0 h 153533"/>
                <a:gd name="connsiteX9" fmla="*/ 86582 w 120681"/>
                <a:gd name="connsiteY9" fmla="*/ 107080 h 153533"/>
                <a:gd name="connsiteX10" fmla="*/ 71722 w 120681"/>
                <a:gd name="connsiteY10" fmla="*/ 122463 h 153533"/>
                <a:gd name="connsiteX11" fmla="*/ 34099 w 120681"/>
                <a:gd name="connsiteY11" fmla="*/ 122463 h 153533"/>
                <a:gd name="connsiteX12" fmla="*/ 34099 w 120681"/>
                <a:gd name="connsiteY12" fmla="*/ 30995 h 153533"/>
                <a:gd name="connsiteX13" fmla="*/ 71722 w 120681"/>
                <a:gd name="connsiteY13" fmla="*/ 30995 h 153533"/>
                <a:gd name="connsiteX14" fmla="*/ 86582 w 120681"/>
                <a:gd name="connsiteY14" fmla="*/ 46387 h 153533"/>
                <a:gd name="connsiteX15" fmla="*/ 86582 w 120681"/>
                <a:gd name="connsiteY15" fmla="*/ 107080 h 153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0681" h="153533">
                  <a:moveTo>
                    <a:pt x="76390" y="0"/>
                  </a:moveTo>
                  <a:lnTo>
                    <a:pt x="3620" y="0"/>
                  </a:lnTo>
                  <a:cubicBezTo>
                    <a:pt x="952" y="0"/>
                    <a:pt x="0" y="877"/>
                    <a:pt x="0" y="3506"/>
                  </a:cubicBezTo>
                  <a:lnTo>
                    <a:pt x="0" y="150019"/>
                  </a:lnTo>
                  <a:cubicBezTo>
                    <a:pt x="0" y="152648"/>
                    <a:pt x="952" y="153534"/>
                    <a:pt x="3620" y="153534"/>
                  </a:cubicBezTo>
                  <a:lnTo>
                    <a:pt x="76485" y="153534"/>
                  </a:lnTo>
                  <a:cubicBezTo>
                    <a:pt x="104394" y="153534"/>
                    <a:pt x="120681" y="138360"/>
                    <a:pt x="120681" y="112862"/>
                  </a:cubicBezTo>
                  <a:lnTo>
                    <a:pt x="120681" y="40672"/>
                  </a:lnTo>
                  <a:cubicBezTo>
                    <a:pt x="120586" y="15164"/>
                    <a:pt x="104394" y="0"/>
                    <a:pt x="76390" y="0"/>
                  </a:cubicBezTo>
                  <a:close/>
                  <a:moveTo>
                    <a:pt x="86582" y="107080"/>
                  </a:moveTo>
                  <a:cubicBezTo>
                    <a:pt x="86582" y="118072"/>
                    <a:pt x="82296" y="122463"/>
                    <a:pt x="71722" y="122463"/>
                  </a:cubicBezTo>
                  <a:lnTo>
                    <a:pt x="34099" y="122463"/>
                  </a:lnTo>
                  <a:lnTo>
                    <a:pt x="34099" y="30995"/>
                  </a:lnTo>
                  <a:lnTo>
                    <a:pt x="71722" y="30995"/>
                  </a:lnTo>
                  <a:cubicBezTo>
                    <a:pt x="82296" y="30995"/>
                    <a:pt x="86582" y="35386"/>
                    <a:pt x="86582" y="46387"/>
                  </a:cubicBezTo>
                  <a:lnTo>
                    <a:pt x="86582" y="107080"/>
                  </a:lnTo>
                  <a:close/>
                </a:path>
              </a:pathLst>
            </a:custGeom>
            <a:solidFill>
              <a:srgbClr val="FFFFFF"/>
            </a:solidFill>
            <a:ln w="9525" cap="flat">
              <a:noFill/>
              <a:prstDash val="solid"/>
              <a:miter/>
            </a:ln>
          </p:spPr>
          <p:txBody>
            <a:bodyPr rtlCol="0" anchor="ctr"/>
            <a:lstStyle/>
            <a:p>
              <a:endParaRPr lang="en-GB"/>
            </a:p>
          </p:txBody>
        </p:sp>
        <p:sp>
          <p:nvSpPr>
            <p:cNvPr id="18" name="Freeform: Shape 17">
              <a:extLst>
                <a:ext uri="{FF2B5EF4-FFF2-40B4-BE49-F238E27FC236}">
                  <a16:creationId xmlns:a16="http://schemas.microsoft.com/office/drawing/2014/main" id="{EF5A16E2-E084-70F8-C6B2-3F834E12EEA3}"/>
                </a:ext>
              </a:extLst>
            </p:cNvPr>
            <p:cNvSpPr/>
            <p:nvPr/>
          </p:nvSpPr>
          <p:spPr bwMode="white">
            <a:xfrm>
              <a:off x="10934700" y="6257894"/>
              <a:ext cx="477869" cy="333438"/>
            </a:xfrm>
            <a:custGeom>
              <a:avLst/>
              <a:gdLst>
                <a:gd name="connsiteX0" fmla="*/ 475202 w 477869"/>
                <a:gd name="connsiteY0" fmla="*/ 31 h 333438"/>
                <a:gd name="connsiteX1" fmla="*/ 199834 w 477869"/>
                <a:gd name="connsiteY1" fmla="*/ 31 h 333438"/>
                <a:gd name="connsiteX2" fmla="*/ 196405 w 477869"/>
                <a:gd name="connsiteY2" fmla="*/ 831 h 333438"/>
                <a:gd name="connsiteX3" fmla="*/ 193929 w 477869"/>
                <a:gd name="connsiteY3" fmla="*/ 3355 h 333438"/>
                <a:gd name="connsiteX4" fmla="*/ 477 w 477869"/>
                <a:gd name="connsiteY4" fmla="*/ 329815 h 333438"/>
                <a:gd name="connsiteX5" fmla="*/ 0 w 477869"/>
                <a:gd name="connsiteY5" fmla="*/ 331063 h 333438"/>
                <a:gd name="connsiteX6" fmla="*/ 381 w 477869"/>
                <a:gd name="connsiteY6" fmla="*/ 332358 h 333438"/>
                <a:gd name="connsiteX7" fmla="*/ 1334 w 477869"/>
                <a:gd name="connsiteY7" fmla="*/ 333234 h 333438"/>
                <a:gd name="connsiteX8" fmla="*/ 2763 w 477869"/>
                <a:gd name="connsiteY8" fmla="*/ 333406 h 333438"/>
                <a:gd name="connsiteX9" fmla="*/ 278034 w 477869"/>
                <a:gd name="connsiteY9" fmla="*/ 333406 h 333438"/>
                <a:gd name="connsiteX10" fmla="*/ 281464 w 477869"/>
                <a:gd name="connsiteY10" fmla="*/ 332606 h 333438"/>
                <a:gd name="connsiteX11" fmla="*/ 283941 w 477869"/>
                <a:gd name="connsiteY11" fmla="*/ 330082 h 333438"/>
                <a:gd name="connsiteX12" fmla="*/ 477393 w 477869"/>
                <a:gd name="connsiteY12" fmla="*/ 3603 h 333438"/>
                <a:gd name="connsiteX13" fmla="*/ 477870 w 477869"/>
                <a:gd name="connsiteY13" fmla="*/ 2364 h 333438"/>
                <a:gd name="connsiteX14" fmla="*/ 477584 w 477869"/>
                <a:gd name="connsiteY14" fmla="*/ 1088 h 333438"/>
                <a:gd name="connsiteX15" fmla="*/ 476536 w 477869"/>
                <a:gd name="connsiteY15" fmla="*/ 212 h 333438"/>
                <a:gd name="connsiteX16" fmla="*/ 475202 w 477869"/>
                <a:gd name="connsiteY16" fmla="*/ 31 h 333438"/>
                <a:gd name="connsiteX17" fmla="*/ 317659 w 477869"/>
                <a:gd name="connsiteY17" fmla="*/ 213105 h 333438"/>
                <a:gd name="connsiteX18" fmla="*/ 317373 w 477869"/>
                <a:gd name="connsiteY18" fmla="*/ 214039 h 333438"/>
                <a:gd name="connsiteX19" fmla="*/ 316706 w 477869"/>
                <a:gd name="connsiteY19" fmla="*/ 214724 h 333438"/>
                <a:gd name="connsiteX20" fmla="*/ 315754 w 477869"/>
                <a:gd name="connsiteY20" fmla="*/ 214972 h 333438"/>
                <a:gd name="connsiteX21" fmla="*/ 314802 w 477869"/>
                <a:gd name="connsiteY21" fmla="*/ 214715 h 333438"/>
                <a:gd name="connsiteX22" fmla="*/ 251746 w 477869"/>
                <a:gd name="connsiteY22" fmla="*/ 179301 h 333438"/>
                <a:gd name="connsiteX23" fmla="*/ 288131 w 477869"/>
                <a:gd name="connsiteY23" fmla="*/ 240670 h 333438"/>
                <a:gd name="connsiteX24" fmla="*/ 288417 w 477869"/>
                <a:gd name="connsiteY24" fmla="*/ 241604 h 333438"/>
                <a:gd name="connsiteX25" fmla="*/ 288131 w 477869"/>
                <a:gd name="connsiteY25" fmla="*/ 242528 h 333438"/>
                <a:gd name="connsiteX26" fmla="*/ 287465 w 477869"/>
                <a:gd name="connsiteY26" fmla="*/ 243204 h 333438"/>
                <a:gd name="connsiteX27" fmla="*/ 286512 w 477869"/>
                <a:gd name="connsiteY27" fmla="*/ 243452 h 333438"/>
                <a:gd name="connsiteX28" fmla="*/ 191262 w 477869"/>
                <a:gd name="connsiteY28" fmla="*/ 243452 h 333438"/>
                <a:gd name="connsiteX29" fmla="*/ 190309 w 477869"/>
                <a:gd name="connsiteY29" fmla="*/ 243204 h 333438"/>
                <a:gd name="connsiteX30" fmla="*/ 189643 w 477869"/>
                <a:gd name="connsiteY30" fmla="*/ 242528 h 333438"/>
                <a:gd name="connsiteX31" fmla="*/ 189357 w 477869"/>
                <a:gd name="connsiteY31" fmla="*/ 241604 h 333438"/>
                <a:gd name="connsiteX32" fmla="*/ 189643 w 477869"/>
                <a:gd name="connsiteY32" fmla="*/ 240670 h 333438"/>
                <a:gd name="connsiteX33" fmla="*/ 225933 w 477869"/>
                <a:gd name="connsiteY33" fmla="*/ 179301 h 333438"/>
                <a:gd name="connsiteX34" fmla="*/ 162973 w 477869"/>
                <a:gd name="connsiteY34" fmla="*/ 214715 h 333438"/>
                <a:gd name="connsiteX35" fmla="*/ 162020 w 477869"/>
                <a:gd name="connsiteY35" fmla="*/ 214962 h 333438"/>
                <a:gd name="connsiteX36" fmla="*/ 161068 w 477869"/>
                <a:gd name="connsiteY36" fmla="*/ 214715 h 333438"/>
                <a:gd name="connsiteX37" fmla="*/ 160305 w 477869"/>
                <a:gd name="connsiteY37" fmla="*/ 214029 h 333438"/>
                <a:gd name="connsiteX38" fmla="*/ 160116 w 477869"/>
                <a:gd name="connsiteY38" fmla="*/ 213105 h 333438"/>
                <a:gd name="connsiteX39" fmla="*/ 160116 w 477869"/>
                <a:gd name="connsiteY39" fmla="*/ 120332 h 333438"/>
                <a:gd name="connsiteX40" fmla="*/ 160305 w 477869"/>
                <a:gd name="connsiteY40" fmla="*/ 119408 h 333438"/>
                <a:gd name="connsiteX41" fmla="*/ 161068 w 477869"/>
                <a:gd name="connsiteY41" fmla="*/ 118722 h 333438"/>
                <a:gd name="connsiteX42" fmla="*/ 162020 w 477869"/>
                <a:gd name="connsiteY42" fmla="*/ 118474 h 333438"/>
                <a:gd name="connsiteX43" fmla="*/ 162973 w 477869"/>
                <a:gd name="connsiteY43" fmla="*/ 118722 h 333438"/>
                <a:gd name="connsiteX44" fmla="*/ 225933 w 477869"/>
                <a:gd name="connsiteY44" fmla="*/ 154136 h 333438"/>
                <a:gd name="connsiteX45" fmla="*/ 189548 w 477869"/>
                <a:gd name="connsiteY45" fmla="*/ 92766 h 333438"/>
                <a:gd name="connsiteX46" fmla="*/ 189357 w 477869"/>
                <a:gd name="connsiteY46" fmla="*/ 91833 h 333438"/>
                <a:gd name="connsiteX47" fmla="*/ 189548 w 477869"/>
                <a:gd name="connsiteY47" fmla="*/ 90909 h 333438"/>
                <a:gd name="connsiteX48" fmla="*/ 190309 w 477869"/>
                <a:gd name="connsiteY48" fmla="*/ 90232 h 333438"/>
                <a:gd name="connsiteX49" fmla="*/ 191262 w 477869"/>
                <a:gd name="connsiteY49" fmla="*/ 89985 h 333438"/>
                <a:gd name="connsiteX50" fmla="*/ 286512 w 477869"/>
                <a:gd name="connsiteY50" fmla="*/ 89985 h 333438"/>
                <a:gd name="connsiteX51" fmla="*/ 287465 w 477869"/>
                <a:gd name="connsiteY51" fmla="*/ 90232 h 333438"/>
                <a:gd name="connsiteX52" fmla="*/ 288131 w 477869"/>
                <a:gd name="connsiteY52" fmla="*/ 90909 h 333438"/>
                <a:gd name="connsiteX53" fmla="*/ 288417 w 477869"/>
                <a:gd name="connsiteY53" fmla="*/ 91833 h 333438"/>
                <a:gd name="connsiteX54" fmla="*/ 288131 w 477869"/>
                <a:gd name="connsiteY54" fmla="*/ 92766 h 333438"/>
                <a:gd name="connsiteX55" fmla="*/ 251746 w 477869"/>
                <a:gd name="connsiteY55" fmla="*/ 154136 h 333438"/>
                <a:gd name="connsiteX56" fmla="*/ 314802 w 477869"/>
                <a:gd name="connsiteY56" fmla="*/ 118722 h 333438"/>
                <a:gd name="connsiteX57" fmla="*/ 315754 w 477869"/>
                <a:gd name="connsiteY57" fmla="*/ 118465 h 333438"/>
                <a:gd name="connsiteX58" fmla="*/ 316706 w 477869"/>
                <a:gd name="connsiteY58" fmla="*/ 118713 h 333438"/>
                <a:gd name="connsiteX59" fmla="*/ 317373 w 477869"/>
                <a:gd name="connsiteY59" fmla="*/ 119398 h 333438"/>
                <a:gd name="connsiteX60" fmla="*/ 317659 w 477869"/>
                <a:gd name="connsiteY60" fmla="*/ 120332 h 333438"/>
                <a:gd name="connsiteX61" fmla="*/ 317659 w 477869"/>
                <a:gd name="connsiteY61" fmla="*/ 213105 h 333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77869" h="333438">
                  <a:moveTo>
                    <a:pt x="475202" y="31"/>
                  </a:moveTo>
                  <a:lnTo>
                    <a:pt x="199834" y="31"/>
                  </a:lnTo>
                  <a:cubicBezTo>
                    <a:pt x="198596" y="-36"/>
                    <a:pt x="197453" y="240"/>
                    <a:pt x="196405" y="831"/>
                  </a:cubicBezTo>
                  <a:cubicBezTo>
                    <a:pt x="195358" y="1421"/>
                    <a:pt x="194501" y="2298"/>
                    <a:pt x="193929" y="3355"/>
                  </a:cubicBezTo>
                  <a:lnTo>
                    <a:pt x="477" y="329815"/>
                  </a:lnTo>
                  <a:cubicBezTo>
                    <a:pt x="191" y="330177"/>
                    <a:pt x="0" y="330615"/>
                    <a:pt x="0" y="331063"/>
                  </a:cubicBezTo>
                  <a:cubicBezTo>
                    <a:pt x="0" y="331520"/>
                    <a:pt x="95" y="331968"/>
                    <a:pt x="381" y="332358"/>
                  </a:cubicBezTo>
                  <a:cubicBezTo>
                    <a:pt x="572" y="332739"/>
                    <a:pt x="952" y="333054"/>
                    <a:pt x="1334" y="333234"/>
                  </a:cubicBezTo>
                  <a:cubicBezTo>
                    <a:pt x="1809" y="333425"/>
                    <a:pt x="2286" y="333482"/>
                    <a:pt x="2763" y="333406"/>
                  </a:cubicBezTo>
                  <a:lnTo>
                    <a:pt x="278034" y="333406"/>
                  </a:lnTo>
                  <a:cubicBezTo>
                    <a:pt x="279178" y="333473"/>
                    <a:pt x="280415" y="333197"/>
                    <a:pt x="281464" y="332606"/>
                  </a:cubicBezTo>
                  <a:cubicBezTo>
                    <a:pt x="282512" y="332015"/>
                    <a:pt x="283369" y="331139"/>
                    <a:pt x="283941" y="330082"/>
                  </a:cubicBezTo>
                  <a:lnTo>
                    <a:pt x="477393" y="3603"/>
                  </a:lnTo>
                  <a:cubicBezTo>
                    <a:pt x="477679" y="3240"/>
                    <a:pt x="477870" y="2812"/>
                    <a:pt x="477870" y="2364"/>
                  </a:cubicBezTo>
                  <a:cubicBezTo>
                    <a:pt x="477870" y="1917"/>
                    <a:pt x="477774" y="1469"/>
                    <a:pt x="477584" y="1088"/>
                  </a:cubicBezTo>
                  <a:cubicBezTo>
                    <a:pt x="477298" y="707"/>
                    <a:pt x="476916" y="402"/>
                    <a:pt x="476536" y="212"/>
                  </a:cubicBezTo>
                  <a:cubicBezTo>
                    <a:pt x="476155" y="21"/>
                    <a:pt x="475678" y="-45"/>
                    <a:pt x="475202" y="31"/>
                  </a:cubicBezTo>
                  <a:close/>
                  <a:moveTo>
                    <a:pt x="317659" y="213105"/>
                  </a:moveTo>
                  <a:cubicBezTo>
                    <a:pt x="317659" y="213429"/>
                    <a:pt x="317563" y="213753"/>
                    <a:pt x="317373" y="214039"/>
                  </a:cubicBezTo>
                  <a:cubicBezTo>
                    <a:pt x="317278" y="214324"/>
                    <a:pt x="316992" y="214562"/>
                    <a:pt x="316706" y="214724"/>
                  </a:cubicBezTo>
                  <a:cubicBezTo>
                    <a:pt x="316420" y="214886"/>
                    <a:pt x="316134" y="214972"/>
                    <a:pt x="315754" y="214972"/>
                  </a:cubicBezTo>
                  <a:cubicBezTo>
                    <a:pt x="315373" y="214972"/>
                    <a:pt x="315087" y="214886"/>
                    <a:pt x="314802" y="214715"/>
                  </a:cubicBezTo>
                  <a:lnTo>
                    <a:pt x="251746" y="179301"/>
                  </a:lnTo>
                  <a:lnTo>
                    <a:pt x="288131" y="240670"/>
                  </a:lnTo>
                  <a:cubicBezTo>
                    <a:pt x="288322" y="240956"/>
                    <a:pt x="288417" y="241280"/>
                    <a:pt x="288417" y="241604"/>
                  </a:cubicBezTo>
                  <a:cubicBezTo>
                    <a:pt x="288417" y="241928"/>
                    <a:pt x="288322" y="242242"/>
                    <a:pt x="288131" y="242528"/>
                  </a:cubicBezTo>
                  <a:cubicBezTo>
                    <a:pt x="287941" y="242814"/>
                    <a:pt x="287750" y="243042"/>
                    <a:pt x="287465" y="243204"/>
                  </a:cubicBezTo>
                  <a:cubicBezTo>
                    <a:pt x="287179" y="243366"/>
                    <a:pt x="286798" y="243452"/>
                    <a:pt x="286512" y="243452"/>
                  </a:cubicBezTo>
                  <a:lnTo>
                    <a:pt x="191262" y="243452"/>
                  </a:lnTo>
                  <a:cubicBezTo>
                    <a:pt x="190977" y="243452"/>
                    <a:pt x="190595" y="243366"/>
                    <a:pt x="190309" y="243204"/>
                  </a:cubicBezTo>
                  <a:cubicBezTo>
                    <a:pt x="190023" y="243042"/>
                    <a:pt x="189834" y="242814"/>
                    <a:pt x="189643" y="242528"/>
                  </a:cubicBezTo>
                  <a:cubicBezTo>
                    <a:pt x="189452" y="242242"/>
                    <a:pt x="189357" y="241928"/>
                    <a:pt x="189357" y="241604"/>
                  </a:cubicBezTo>
                  <a:cubicBezTo>
                    <a:pt x="189357" y="241280"/>
                    <a:pt x="189452" y="240956"/>
                    <a:pt x="189643" y="240670"/>
                  </a:cubicBezTo>
                  <a:lnTo>
                    <a:pt x="225933" y="179301"/>
                  </a:lnTo>
                  <a:lnTo>
                    <a:pt x="162973" y="214715"/>
                  </a:lnTo>
                  <a:cubicBezTo>
                    <a:pt x="162687" y="214877"/>
                    <a:pt x="162306" y="214962"/>
                    <a:pt x="162020" y="214962"/>
                  </a:cubicBezTo>
                  <a:cubicBezTo>
                    <a:pt x="161639" y="214962"/>
                    <a:pt x="161353" y="214877"/>
                    <a:pt x="161068" y="214715"/>
                  </a:cubicBezTo>
                  <a:cubicBezTo>
                    <a:pt x="160782" y="214543"/>
                    <a:pt x="160496" y="214315"/>
                    <a:pt x="160305" y="214029"/>
                  </a:cubicBezTo>
                  <a:cubicBezTo>
                    <a:pt x="160210" y="213753"/>
                    <a:pt x="160116" y="213429"/>
                    <a:pt x="160116" y="213105"/>
                  </a:cubicBezTo>
                  <a:lnTo>
                    <a:pt x="160116" y="120332"/>
                  </a:lnTo>
                  <a:cubicBezTo>
                    <a:pt x="160116" y="120008"/>
                    <a:pt x="160210" y="119684"/>
                    <a:pt x="160305" y="119408"/>
                  </a:cubicBezTo>
                  <a:cubicBezTo>
                    <a:pt x="160496" y="119122"/>
                    <a:pt x="160782" y="118884"/>
                    <a:pt x="161068" y="118722"/>
                  </a:cubicBezTo>
                  <a:cubicBezTo>
                    <a:pt x="161353" y="118560"/>
                    <a:pt x="161639" y="118474"/>
                    <a:pt x="162020" y="118474"/>
                  </a:cubicBezTo>
                  <a:cubicBezTo>
                    <a:pt x="162306" y="118474"/>
                    <a:pt x="162687" y="118560"/>
                    <a:pt x="162973" y="118722"/>
                  </a:cubicBezTo>
                  <a:lnTo>
                    <a:pt x="225933" y="154136"/>
                  </a:lnTo>
                  <a:lnTo>
                    <a:pt x="189548" y="92766"/>
                  </a:lnTo>
                  <a:cubicBezTo>
                    <a:pt x="189452" y="92480"/>
                    <a:pt x="189357" y="92157"/>
                    <a:pt x="189357" y="91833"/>
                  </a:cubicBezTo>
                  <a:cubicBezTo>
                    <a:pt x="189357" y="91509"/>
                    <a:pt x="189452" y="91194"/>
                    <a:pt x="189548" y="90909"/>
                  </a:cubicBezTo>
                  <a:cubicBezTo>
                    <a:pt x="189738" y="90623"/>
                    <a:pt x="190023" y="90394"/>
                    <a:pt x="190309" y="90232"/>
                  </a:cubicBezTo>
                  <a:cubicBezTo>
                    <a:pt x="190595" y="90071"/>
                    <a:pt x="190881" y="89985"/>
                    <a:pt x="191262" y="89985"/>
                  </a:cubicBezTo>
                  <a:lnTo>
                    <a:pt x="286512" y="89985"/>
                  </a:lnTo>
                  <a:cubicBezTo>
                    <a:pt x="286798" y="89985"/>
                    <a:pt x="287179" y="90071"/>
                    <a:pt x="287465" y="90232"/>
                  </a:cubicBezTo>
                  <a:cubicBezTo>
                    <a:pt x="287750" y="90394"/>
                    <a:pt x="287941" y="90623"/>
                    <a:pt x="288131" y="90909"/>
                  </a:cubicBezTo>
                  <a:cubicBezTo>
                    <a:pt x="288322" y="91194"/>
                    <a:pt x="288417" y="91509"/>
                    <a:pt x="288417" y="91833"/>
                  </a:cubicBezTo>
                  <a:cubicBezTo>
                    <a:pt x="288417" y="92157"/>
                    <a:pt x="288322" y="92480"/>
                    <a:pt x="288131" y="92766"/>
                  </a:cubicBezTo>
                  <a:lnTo>
                    <a:pt x="251746" y="154136"/>
                  </a:lnTo>
                  <a:lnTo>
                    <a:pt x="314802" y="118722"/>
                  </a:lnTo>
                  <a:cubicBezTo>
                    <a:pt x="315087" y="118550"/>
                    <a:pt x="315373" y="118465"/>
                    <a:pt x="315754" y="118465"/>
                  </a:cubicBezTo>
                  <a:cubicBezTo>
                    <a:pt x="316134" y="118465"/>
                    <a:pt x="316420" y="118550"/>
                    <a:pt x="316706" y="118713"/>
                  </a:cubicBezTo>
                  <a:cubicBezTo>
                    <a:pt x="316992" y="118874"/>
                    <a:pt x="317278" y="119112"/>
                    <a:pt x="317373" y="119398"/>
                  </a:cubicBezTo>
                  <a:cubicBezTo>
                    <a:pt x="317563" y="119684"/>
                    <a:pt x="317659" y="119998"/>
                    <a:pt x="317659" y="120332"/>
                  </a:cubicBezTo>
                  <a:lnTo>
                    <a:pt x="317659" y="213105"/>
                  </a:lnTo>
                  <a:close/>
                </a:path>
              </a:pathLst>
            </a:custGeom>
            <a:solidFill>
              <a:srgbClr val="FFFFFF"/>
            </a:solidFill>
            <a:ln w="9525" cap="flat">
              <a:noFill/>
              <a:prstDash val="solid"/>
              <a:miter/>
            </a:ln>
          </p:spPr>
          <p:txBody>
            <a:bodyPr rtlCol="0" anchor="ctr"/>
            <a:lstStyle/>
            <a:p>
              <a:endParaRPr lang="en-GB"/>
            </a:p>
          </p:txBody>
        </p:sp>
      </p:grpSp>
    </p:spTree>
    <p:extLst>
      <p:ext uri="{BB962C8B-B14F-4D97-AF65-F5344CB8AC3E}">
        <p14:creationId xmlns:p14="http://schemas.microsoft.com/office/powerpoint/2010/main" val="110570747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User guide">
    <p:spTree>
      <p:nvGrpSpPr>
        <p:cNvPr id="1" name=""/>
        <p:cNvGrpSpPr/>
        <p:nvPr/>
      </p:nvGrpSpPr>
      <p:grpSpPr>
        <a:xfrm>
          <a:off x="0" y="0"/>
          <a:ext cx="0" cy="0"/>
          <a:chOff x="0" y="0"/>
          <a:chExt cx="0" cy="0"/>
        </a:xfrm>
      </p:grpSpPr>
      <p:sp>
        <p:nvSpPr>
          <p:cNvPr id="9" name="Fast overskrift"/>
          <p:cNvSpPr txBox="1"/>
          <p:nvPr userDrawn="1"/>
        </p:nvSpPr>
        <p:spPr>
          <a:xfrm>
            <a:off x="269876" y="269875"/>
            <a:ext cx="11379198" cy="829009"/>
          </a:xfrm>
          <a:prstGeom prst="rect">
            <a:avLst/>
          </a:prstGeom>
          <a:noFill/>
        </p:spPr>
        <p:txBody>
          <a:bodyPr wrap="square" lIns="0" tIns="0" rIns="0" bIns="0" rtlCol="0" anchor="t" anchorCtr="0">
            <a:noAutofit/>
          </a:bodyPr>
          <a:lstStyle/>
          <a:p>
            <a:r>
              <a:rPr lang="en-GB" sz="3200" b="0" noProof="1">
                <a:solidFill>
                  <a:schemeClr val="tx2"/>
                </a:solidFill>
                <a:latin typeface="+mj-lt"/>
                <a:cs typeface="DFDS Sans" panose="00000500000000000000" pitchFamily="2" charset="0"/>
              </a:rPr>
              <a:t>PowerPoint User Guide</a:t>
            </a:r>
          </a:p>
        </p:txBody>
      </p:sp>
      <p:sp>
        <p:nvSpPr>
          <p:cNvPr id="13" name="Text Box 2">
            <a:extLst>
              <a:ext uri="{FF2B5EF4-FFF2-40B4-BE49-F238E27FC236}">
                <a16:creationId xmlns:a16="http://schemas.microsoft.com/office/drawing/2014/main" id="{0BB3B459-CDFE-44C8-879C-511BDE5A64B2}"/>
              </a:ext>
            </a:extLst>
          </p:cNvPr>
          <p:cNvSpPr txBox="1">
            <a:spLocks noChangeArrowheads="1"/>
          </p:cNvSpPr>
          <p:nvPr userDrawn="1"/>
        </p:nvSpPr>
        <p:spPr bwMode="auto">
          <a:xfrm>
            <a:off x="269876" y="1606550"/>
            <a:ext cx="2778124" cy="3739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DFDS Sans" charset="0"/>
              </a:defRPr>
            </a:lvl1pPr>
            <a:lvl2pPr marL="742950" indent="-285750" eaLnBrk="0" hangingPunct="0">
              <a:defRPr>
                <a:solidFill>
                  <a:schemeClr val="tx1"/>
                </a:solidFill>
                <a:latin typeface="DFDS Sans" charset="0"/>
              </a:defRPr>
            </a:lvl2pPr>
            <a:lvl3pPr marL="1143000" indent="-228600" eaLnBrk="0" hangingPunct="0">
              <a:defRPr>
                <a:solidFill>
                  <a:schemeClr val="tx1"/>
                </a:solidFill>
                <a:latin typeface="DFDS Sans" charset="0"/>
              </a:defRPr>
            </a:lvl3pPr>
            <a:lvl4pPr marL="1600200" indent="-228600" eaLnBrk="0" hangingPunct="0">
              <a:defRPr>
                <a:solidFill>
                  <a:schemeClr val="tx1"/>
                </a:solidFill>
                <a:latin typeface="DFDS Sans" charset="0"/>
              </a:defRPr>
            </a:lvl4pPr>
            <a:lvl5pPr marL="2057400" indent="-228600" eaLnBrk="0" hangingPunct="0">
              <a:defRPr>
                <a:solidFill>
                  <a:schemeClr val="tx1"/>
                </a:solidFill>
                <a:latin typeface="DFDS Sans" charset="0"/>
              </a:defRPr>
            </a:lvl5pPr>
            <a:lvl6pPr marL="2514600" indent="-228600" eaLnBrk="0" fontAlgn="base" hangingPunct="0">
              <a:spcBef>
                <a:spcPct val="0"/>
              </a:spcBef>
              <a:spcAft>
                <a:spcPct val="0"/>
              </a:spcAft>
              <a:defRPr>
                <a:solidFill>
                  <a:schemeClr val="tx1"/>
                </a:solidFill>
                <a:latin typeface="DFDS Sans" charset="0"/>
              </a:defRPr>
            </a:lvl6pPr>
            <a:lvl7pPr marL="2971800" indent="-228600" eaLnBrk="0" fontAlgn="base" hangingPunct="0">
              <a:spcBef>
                <a:spcPct val="0"/>
              </a:spcBef>
              <a:spcAft>
                <a:spcPct val="0"/>
              </a:spcAft>
              <a:defRPr>
                <a:solidFill>
                  <a:schemeClr val="tx1"/>
                </a:solidFill>
                <a:latin typeface="DFDS Sans" charset="0"/>
              </a:defRPr>
            </a:lvl7pPr>
            <a:lvl8pPr marL="3429000" indent="-228600" eaLnBrk="0" fontAlgn="base" hangingPunct="0">
              <a:spcBef>
                <a:spcPct val="0"/>
              </a:spcBef>
              <a:spcAft>
                <a:spcPct val="0"/>
              </a:spcAft>
              <a:defRPr>
                <a:solidFill>
                  <a:schemeClr val="tx1"/>
                </a:solidFill>
                <a:latin typeface="DFDS Sans" charset="0"/>
              </a:defRPr>
            </a:lvl8pPr>
            <a:lvl9pPr marL="3886200" indent="-228600" eaLnBrk="0" fontAlgn="base" hangingPunct="0">
              <a:spcBef>
                <a:spcPct val="0"/>
              </a:spcBef>
              <a:spcAft>
                <a:spcPct val="0"/>
              </a:spcAft>
              <a:defRPr>
                <a:solidFill>
                  <a:schemeClr val="tx1"/>
                </a:solidFill>
                <a:latin typeface="DFDS Sans"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600" b="0" i="0" u="none" strike="noStrike" kern="1200" cap="none" spc="0" normalizeH="0" baseline="0" noProof="0">
                <a:ln>
                  <a:noFill/>
                </a:ln>
                <a:solidFill>
                  <a:srgbClr val="002B45"/>
                </a:solidFill>
                <a:effectLst/>
                <a:uLnTx/>
                <a:uFillTx/>
                <a:latin typeface="DFDS Sans"/>
                <a:ea typeface="+mn-ea"/>
                <a:cs typeface="DFDS Sans" panose="00000500000000000000" pitchFamily="2" charset="0"/>
              </a:rPr>
              <a:t>Text Styles</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altLang="da-DK" sz="900" b="0" i="0" u="none" strike="noStrike" kern="1200" cap="none" spc="0" normalizeH="0" baseline="0" noProof="1">
                <a:ln>
                  <a:noFill/>
                </a:ln>
                <a:solidFill>
                  <a:srgbClr val="002B45"/>
                </a:solidFill>
                <a:effectLst/>
                <a:uLnTx/>
                <a:uFillTx/>
                <a:latin typeface="DFDS Sans"/>
                <a:ea typeface="+mn-ea"/>
                <a:cs typeface="DFDS Sans" panose="00000500000000000000" pitchFamily="2" charset="0"/>
              </a:rPr>
              <a:t>Use the </a:t>
            </a:r>
            <a:r>
              <a:rPr kumimoji="0" lang="en-GB" altLang="da-DK" sz="900" b="1" i="0" u="none" strike="noStrike" kern="1200" cap="none" spc="0" normalizeH="0" baseline="0" noProof="1">
                <a:ln>
                  <a:noFill/>
                </a:ln>
                <a:solidFill>
                  <a:srgbClr val="002B45"/>
                </a:solidFill>
                <a:effectLst/>
                <a:uLnTx/>
                <a:uFillTx/>
                <a:latin typeface="DFDS Sans"/>
                <a:ea typeface="+mn-ea"/>
                <a:cs typeface="DFDS Sans" panose="00000500000000000000" pitchFamily="2" charset="0"/>
              </a:rPr>
              <a:t>TAB</a:t>
            </a:r>
            <a:r>
              <a:rPr kumimoji="0" lang="en-GB" altLang="da-DK" sz="900" b="0" i="0" u="none" strike="noStrike" kern="1200" cap="none" spc="0" normalizeH="0" baseline="0" noProof="1">
                <a:ln>
                  <a:noFill/>
                </a:ln>
                <a:solidFill>
                  <a:srgbClr val="002B45"/>
                </a:solidFill>
                <a:effectLst/>
                <a:uLnTx/>
                <a:uFillTx/>
                <a:latin typeface="DFDS Sans"/>
                <a:ea typeface="+mn-ea"/>
                <a:cs typeface="DFDS Sans" panose="00000500000000000000" pitchFamily="2" charset="0"/>
              </a:rPr>
              <a:t>-key to jump through </a:t>
            </a:r>
            <a:br>
              <a:rPr kumimoji="0" lang="en-GB" altLang="da-DK" sz="900" b="0" i="0" u="none" strike="noStrike" kern="1200" cap="none" spc="0" normalizeH="0" baseline="0" noProof="1">
                <a:ln>
                  <a:noFill/>
                </a:ln>
                <a:solidFill>
                  <a:srgbClr val="002B45"/>
                </a:solidFill>
                <a:effectLst/>
                <a:uLnTx/>
                <a:uFillTx/>
                <a:latin typeface="DFDS Sans"/>
                <a:ea typeface="+mn-ea"/>
                <a:cs typeface="DFDS Sans" panose="00000500000000000000" pitchFamily="2" charset="0"/>
              </a:rPr>
            </a:br>
            <a:r>
              <a:rPr kumimoji="0" lang="en-GB" altLang="da-DK" sz="900" b="0" i="0" u="none" strike="noStrike" kern="1200" cap="none" spc="0" normalizeH="0" baseline="0" noProof="1">
                <a:ln>
                  <a:noFill/>
                </a:ln>
                <a:solidFill>
                  <a:srgbClr val="002B45"/>
                </a:solidFill>
                <a:effectLst/>
                <a:uLnTx/>
                <a:uFillTx/>
                <a:latin typeface="DFDS Sans"/>
                <a:ea typeface="+mn-ea"/>
                <a:cs typeface="DFDS Sans" panose="00000500000000000000" pitchFamily="2" charset="0"/>
              </a:rPr>
              <a:t>levels. Click </a:t>
            </a:r>
            <a:r>
              <a:rPr kumimoji="0" lang="en-GB" altLang="da-DK" sz="900" b="1" i="0" u="none" strike="noStrike" kern="1200" cap="none" spc="0" normalizeH="0" baseline="0" noProof="1">
                <a:ln>
                  <a:noFill/>
                </a:ln>
                <a:solidFill>
                  <a:srgbClr val="002B45"/>
                </a:solidFill>
                <a:effectLst/>
                <a:uLnTx/>
                <a:uFillTx/>
                <a:latin typeface="DFDS Sans"/>
                <a:ea typeface="+mn-ea"/>
                <a:cs typeface="DFDS Sans" panose="00000500000000000000" pitchFamily="2" charset="0"/>
              </a:rPr>
              <a:t>ENTER</a:t>
            </a:r>
            <a:r>
              <a:rPr kumimoji="0" lang="en-GB" altLang="da-DK" sz="900" b="0" i="0" u="none" strike="noStrike" kern="1200" cap="none" spc="0" normalizeH="0" baseline="0" noProof="1">
                <a:ln>
                  <a:noFill/>
                </a:ln>
                <a:solidFill>
                  <a:srgbClr val="002B45"/>
                </a:solidFill>
                <a:effectLst/>
                <a:uLnTx/>
                <a:uFillTx/>
                <a:latin typeface="DFDS Sans"/>
                <a:ea typeface="+mn-ea"/>
                <a:cs typeface="DFDS Sans" panose="00000500000000000000" pitchFamily="2" charset="0"/>
              </a:rPr>
              <a:t>, then </a:t>
            </a:r>
            <a:r>
              <a:rPr kumimoji="0" lang="en-GB" altLang="da-DK" sz="900" b="1" i="0" u="none" strike="noStrike" kern="1200" cap="none" spc="0" normalizeH="0" baseline="0" noProof="1">
                <a:ln>
                  <a:noFill/>
                </a:ln>
                <a:solidFill>
                  <a:srgbClr val="002B45"/>
                </a:solidFill>
                <a:effectLst/>
                <a:uLnTx/>
                <a:uFillTx/>
                <a:latin typeface="DFDS Sans"/>
                <a:ea typeface="+mn-ea"/>
                <a:cs typeface="DFDS Sans" panose="00000500000000000000" pitchFamily="2" charset="0"/>
              </a:rPr>
              <a:t>TAB</a:t>
            </a:r>
            <a:r>
              <a:rPr kumimoji="0" lang="en-GB" altLang="da-DK" sz="900" b="0" i="0" u="none" strike="noStrike" kern="1200" cap="none" spc="0" normalizeH="0" baseline="0" noProof="1">
                <a:ln>
                  <a:noFill/>
                </a:ln>
                <a:solidFill>
                  <a:srgbClr val="002B45"/>
                </a:solidFill>
                <a:effectLst/>
                <a:uLnTx/>
                <a:uFillTx/>
                <a:latin typeface="DFDS Sans"/>
                <a:ea typeface="+mn-ea"/>
                <a:cs typeface="DFDS Sans" panose="00000500000000000000" pitchFamily="2" charset="0"/>
              </a:rPr>
              <a:t> to switch from one level to the next level</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altLang="da-DK" sz="900" b="0" i="0" u="none" strike="noStrike" kern="1200" cap="none" spc="0" normalizeH="0" baseline="0" noProof="1">
                <a:ln>
                  <a:noFill/>
                </a:ln>
                <a:solidFill>
                  <a:srgbClr val="002B45"/>
                </a:solidFill>
                <a:effectLst/>
                <a:uLnTx/>
                <a:uFillTx/>
                <a:latin typeface="DFDS Sans"/>
                <a:ea typeface="+mn-ea"/>
                <a:cs typeface="DFDS Sans" panose="00000500000000000000" pitchFamily="2" charset="0"/>
              </a:rPr>
              <a:t>To go back in levels use </a:t>
            </a:r>
            <a:r>
              <a:rPr kumimoji="0" lang="en-GB" altLang="da-DK" sz="900" b="1" i="0" u="none" strike="noStrike" kern="1200" cap="none" spc="0" normalizeH="0" baseline="0" noProof="1">
                <a:ln>
                  <a:noFill/>
                </a:ln>
                <a:solidFill>
                  <a:srgbClr val="002B45"/>
                </a:solidFill>
                <a:effectLst/>
                <a:uLnTx/>
                <a:uFillTx/>
                <a:latin typeface="DFDS Sans"/>
                <a:ea typeface="+mn-ea"/>
                <a:cs typeface="DFDS Sans" panose="00000500000000000000" pitchFamily="2" charset="0"/>
              </a:rPr>
              <a:t>SHIFT+TAB</a:t>
            </a:r>
            <a:endParaRPr kumimoji="0" lang="en-GB" sz="900" b="1" i="0" u="none" strike="noStrike" kern="1200" cap="none" spc="0" normalizeH="0" baseline="0" noProof="1">
              <a:ln>
                <a:noFill/>
              </a:ln>
              <a:solidFill>
                <a:srgbClr val="002B45"/>
              </a:solidFill>
              <a:effectLst/>
              <a:uLnTx/>
              <a:uFillTx/>
              <a:latin typeface="DFDS Sans"/>
              <a:ea typeface="+mn-ea"/>
              <a:cs typeface="DFDS Sans" panose="00000500000000000000" pitchFamily="2"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900" b="0" i="0" u="none" strike="noStrike" kern="1200" cap="none" spc="0" normalizeH="0" baseline="0" noProof="1">
                <a:ln>
                  <a:noFill/>
                </a:ln>
                <a:solidFill>
                  <a:srgbClr val="002B45"/>
                </a:solidFill>
                <a:effectLst/>
                <a:uLnTx/>
                <a:uFillTx/>
                <a:latin typeface="DFDS Sans"/>
                <a:ea typeface="+mn-ea"/>
                <a:cs typeface="DFDS Sans" panose="00000500000000000000" pitchFamily="2" charset="0"/>
              </a:rPr>
              <a:t>Alternatively, </a:t>
            </a:r>
            <a:r>
              <a:rPr kumimoji="0" lang="en-GB" sz="900" b="1" i="0" u="none" strike="noStrike" kern="1200" cap="none" spc="0" normalizeH="0" baseline="0" noProof="1">
                <a:ln>
                  <a:noFill/>
                </a:ln>
                <a:solidFill>
                  <a:srgbClr val="002B45"/>
                </a:solidFill>
                <a:effectLst/>
                <a:uLnTx/>
                <a:uFillTx/>
                <a:latin typeface="DFDS Sans"/>
                <a:ea typeface="+mn-ea"/>
                <a:cs typeface="DFDS Sans" panose="00000500000000000000" pitchFamily="2" charset="0"/>
              </a:rPr>
              <a:t>Increase</a:t>
            </a:r>
            <a:r>
              <a:rPr kumimoji="0" lang="en-GB" sz="900" b="0" i="0" u="none" strike="noStrike" kern="1200" cap="none" spc="0" normalizeH="0" baseline="0" noProof="1">
                <a:ln>
                  <a:noFill/>
                </a:ln>
                <a:solidFill>
                  <a:srgbClr val="002B45"/>
                </a:solidFill>
                <a:effectLst/>
                <a:uLnTx/>
                <a:uFillTx/>
                <a:latin typeface="DFDS Sans"/>
                <a:ea typeface="+mn-ea"/>
                <a:cs typeface="DFDS Sans" panose="00000500000000000000" pitchFamily="2" charset="0"/>
              </a:rPr>
              <a:t> and</a:t>
            </a:r>
            <a:br>
              <a:rPr kumimoji="0" lang="en-GB" sz="900" b="0" i="0" u="none" strike="noStrike" kern="1200" cap="none" spc="0" normalizeH="0" baseline="0" noProof="1">
                <a:ln>
                  <a:noFill/>
                </a:ln>
                <a:solidFill>
                  <a:srgbClr val="002B45"/>
                </a:solidFill>
                <a:effectLst/>
                <a:uLnTx/>
                <a:uFillTx/>
                <a:latin typeface="DFDS Sans"/>
                <a:ea typeface="+mn-ea"/>
                <a:cs typeface="DFDS Sans" panose="00000500000000000000" pitchFamily="2" charset="0"/>
              </a:rPr>
            </a:br>
            <a:r>
              <a:rPr kumimoji="0" lang="en-GB" sz="900" b="1" i="0" u="none" strike="noStrike" kern="1200" cap="none" spc="0" normalizeH="0" baseline="0" noProof="1">
                <a:ln>
                  <a:noFill/>
                </a:ln>
                <a:solidFill>
                  <a:srgbClr val="002B45"/>
                </a:solidFill>
                <a:effectLst/>
                <a:uLnTx/>
                <a:uFillTx/>
                <a:latin typeface="DFDS Sans"/>
                <a:ea typeface="+mn-ea"/>
                <a:cs typeface="DFDS Sans" panose="00000500000000000000" pitchFamily="2" charset="0"/>
              </a:rPr>
              <a:t>Decrease </a:t>
            </a:r>
            <a:r>
              <a:rPr kumimoji="0" lang="en-GB" sz="900" b="0" i="0" u="none" strike="noStrike" kern="1200" cap="none" spc="0" normalizeH="0" baseline="0" noProof="1">
                <a:ln>
                  <a:noFill/>
                </a:ln>
                <a:solidFill>
                  <a:srgbClr val="002B45"/>
                </a:solidFill>
                <a:effectLst/>
                <a:uLnTx/>
                <a:uFillTx/>
                <a:latin typeface="DFDS Sans"/>
                <a:ea typeface="+mn-ea"/>
                <a:cs typeface="DFDS Sans" panose="00000500000000000000" pitchFamily="2" charset="0"/>
              </a:rPr>
              <a:t>list level can be used</a:t>
            </a:r>
            <a:br>
              <a:rPr kumimoji="0" lang="en-GB" altLang="da-DK" sz="900" b="0" i="0" u="none" strike="noStrike" kern="1200" cap="none" spc="0" normalizeH="0" baseline="0" noProof="1">
                <a:ln>
                  <a:noFill/>
                </a:ln>
                <a:solidFill>
                  <a:srgbClr val="002B45"/>
                </a:solidFill>
                <a:effectLst/>
                <a:uLnTx/>
                <a:uFillTx/>
                <a:latin typeface="DFDS Sans"/>
                <a:ea typeface="+mn-ea"/>
                <a:cs typeface="DFDS Sans" panose="00000500000000000000" pitchFamily="2" charset="0"/>
              </a:rPr>
            </a:br>
            <a:endParaRPr kumimoji="0" lang="en-GB" altLang="da-DK" sz="900" b="0" i="0" u="none" strike="noStrike" kern="1200" cap="none" spc="0" normalizeH="0" baseline="0" noProof="1">
              <a:ln>
                <a:noFill/>
              </a:ln>
              <a:solidFill>
                <a:srgbClr val="002B45"/>
              </a:solidFill>
              <a:effectLst/>
              <a:uLnTx/>
              <a:uFillTx/>
              <a:latin typeface="DFDS Sans"/>
              <a:ea typeface="+mn-ea"/>
              <a:cs typeface="DFDS Sans" panose="00000500000000000000" pitchFamily="2"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altLang="da-DK" sz="900" b="1" i="0" u="none" strike="noStrike" kern="1200" cap="none" spc="0" normalizeH="0" baseline="0" noProof="1">
                <a:ln>
                  <a:noFill/>
                </a:ln>
                <a:solidFill>
                  <a:srgbClr val="002B45"/>
                </a:solidFill>
                <a:effectLst/>
                <a:uLnTx/>
                <a:uFillTx/>
                <a:latin typeface="DFDS Sans"/>
                <a:ea typeface="+mn-ea"/>
                <a:cs typeface="DFDS Sans" panose="00000500000000000000" pitchFamily="2" charset="0"/>
              </a:rPr>
              <a:t>HINT: </a:t>
            </a:r>
            <a:r>
              <a:rPr kumimoji="0" lang="en-GB" sz="900" b="1" i="0" u="none" strike="noStrike" kern="1200" cap="none" spc="0" normalizeH="0" baseline="0" noProof="1">
                <a:ln>
                  <a:noFill/>
                </a:ln>
                <a:solidFill>
                  <a:srgbClr val="002B45"/>
                </a:solidFill>
                <a:effectLst/>
                <a:uLnTx/>
                <a:uFillTx/>
                <a:latin typeface="DFDS Sans"/>
                <a:ea typeface="+mn-ea"/>
                <a:cs typeface="DFDS Sans" panose="00000500000000000000" pitchFamily="2" charset="0"/>
              </a:rPr>
              <a:t>Use Bullet Button</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altLang="da-DK" sz="900" b="0" i="0" u="none" strike="noStrike" kern="1200" cap="none" spc="0" normalizeH="0" baseline="0" noProof="1">
                <a:ln>
                  <a:noFill/>
                </a:ln>
                <a:solidFill>
                  <a:srgbClr val="002B45"/>
                </a:solidFill>
                <a:effectLst/>
                <a:uLnTx/>
                <a:uFillTx/>
                <a:latin typeface="DFDS Sans"/>
                <a:ea typeface="+mn-ea"/>
                <a:cs typeface="DFDS Sans" panose="00000500000000000000" pitchFamily="2" charset="0"/>
              </a:rPr>
              <a:t>Delete bullet for regular text.</a:t>
            </a:r>
            <a:br>
              <a:rPr kumimoji="0" lang="en-GB" altLang="da-DK" sz="900" b="0" i="0" u="none" strike="noStrike" kern="1200" cap="none" spc="0" normalizeH="0" baseline="0" noProof="1">
                <a:ln>
                  <a:noFill/>
                </a:ln>
                <a:solidFill>
                  <a:srgbClr val="002B45"/>
                </a:solidFill>
                <a:effectLst/>
                <a:uLnTx/>
                <a:uFillTx/>
                <a:latin typeface="DFDS Sans"/>
                <a:ea typeface="+mn-ea"/>
                <a:cs typeface="DFDS Sans" panose="00000500000000000000" pitchFamily="2" charset="0"/>
              </a:rPr>
            </a:br>
            <a:r>
              <a:rPr kumimoji="0" lang="en-GB" altLang="da-DK" sz="900" b="0" i="0" u="none" strike="noStrike" kern="1200" cap="none" spc="0" normalizeH="0" baseline="0" noProof="1">
                <a:ln>
                  <a:noFill/>
                </a:ln>
                <a:solidFill>
                  <a:srgbClr val="002B45"/>
                </a:solidFill>
                <a:effectLst/>
                <a:uLnTx/>
                <a:uFillTx/>
                <a:latin typeface="DFDS Sans"/>
                <a:ea typeface="+mn-ea"/>
                <a:cs typeface="DFDS Sans" panose="00000500000000000000" pitchFamily="2" charset="0"/>
              </a:rPr>
              <a:t>Click on the bullet button to reaply the correct bullet again</a:t>
            </a:r>
          </a:p>
          <a:p>
            <a:pPr marL="0" marR="0" lvl="0" indent="0" algn="l" defTabSz="914400" rtl="0" eaLnBrk="1" fontAlgn="auto" latinLnBrk="0" hangingPunct="1">
              <a:lnSpc>
                <a:spcPct val="100000"/>
              </a:lnSpc>
              <a:spcBef>
                <a:spcPts val="0"/>
              </a:spcBef>
              <a:spcAft>
                <a:spcPts val="600"/>
              </a:spcAft>
              <a:buClrTx/>
              <a:buSzTx/>
              <a:buFontTx/>
              <a:buNone/>
              <a:tabLst/>
              <a:defRPr/>
            </a:pPr>
            <a:br>
              <a:rPr kumimoji="0" lang="en-GB" altLang="da-DK" sz="900" b="0" i="0" u="none" strike="noStrike" kern="1200" cap="none" spc="0" normalizeH="0" baseline="0" noProof="1">
                <a:ln>
                  <a:noFill/>
                </a:ln>
                <a:solidFill>
                  <a:srgbClr val="002B45"/>
                </a:solidFill>
                <a:effectLst/>
                <a:uLnTx/>
                <a:uFillTx/>
                <a:latin typeface="DFDS Sans"/>
                <a:ea typeface="+mn-ea"/>
                <a:cs typeface="DFDS Sans" panose="00000500000000000000" pitchFamily="2" charset="0"/>
              </a:rPr>
            </a:br>
            <a:r>
              <a:rPr kumimoji="0" lang="en-GB" sz="1600" b="0" i="0" u="none" strike="noStrike" kern="1200" cap="none" spc="0" normalizeH="0" baseline="0" noProof="0">
                <a:ln>
                  <a:noFill/>
                </a:ln>
                <a:solidFill>
                  <a:srgbClr val="002B45"/>
                </a:solidFill>
                <a:effectLst/>
                <a:uLnTx/>
                <a:uFillTx/>
                <a:latin typeface="DFDS Sans"/>
                <a:ea typeface="+mn-ea"/>
                <a:cs typeface="DFDS Sans" panose="00000500000000000000" pitchFamily="2" charset="0"/>
              </a:rPr>
              <a:t>Slides &amp; Layouts</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altLang="da-DK" sz="900" b="0" i="0" u="none" strike="noStrike" kern="1200" cap="none" spc="0" normalizeH="0" baseline="0" noProof="1">
                <a:ln>
                  <a:noFill/>
                </a:ln>
                <a:solidFill>
                  <a:srgbClr val="002B45"/>
                </a:solidFill>
                <a:effectLst/>
                <a:uLnTx/>
                <a:uFillTx/>
                <a:latin typeface="DFDS Sans"/>
                <a:ea typeface="+mn-ea"/>
                <a:cs typeface="DFDS Sans" panose="00000500000000000000" pitchFamily="2" charset="0"/>
              </a:rPr>
              <a:t>Click on the menu </a:t>
            </a:r>
            <a:r>
              <a:rPr kumimoji="0" lang="en-GB" altLang="da-DK" sz="900" b="1" i="0" u="none" strike="noStrike" kern="1200" cap="none" spc="0" normalizeH="0" baseline="0" noProof="1">
                <a:ln>
                  <a:noFill/>
                </a:ln>
                <a:solidFill>
                  <a:srgbClr val="002B45"/>
                </a:solidFill>
                <a:effectLst/>
                <a:uLnTx/>
                <a:uFillTx/>
                <a:latin typeface="DFDS Sans"/>
                <a:ea typeface="+mn-ea"/>
                <a:cs typeface="DFDS Sans" panose="00000500000000000000" pitchFamily="2" charset="0"/>
              </a:rPr>
              <a:t>New Slide </a:t>
            </a:r>
            <a:r>
              <a:rPr kumimoji="0" lang="en-GB" altLang="da-DK" sz="900" b="0" i="0" u="none" strike="noStrike" kern="1200" cap="none" spc="0" normalizeH="0" baseline="0" noProof="1">
                <a:ln>
                  <a:noFill/>
                </a:ln>
                <a:solidFill>
                  <a:srgbClr val="002B45"/>
                </a:solidFill>
                <a:effectLst/>
                <a:uLnTx/>
                <a:uFillTx/>
                <a:latin typeface="DFDS Sans"/>
                <a:ea typeface="+mn-ea"/>
                <a:cs typeface="DFDS Sans" panose="00000500000000000000" pitchFamily="2" charset="0"/>
              </a:rPr>
              <a:t>in the </a:t>
            </a:r>
            <a:r>
              <a:rPr kumimoji="0" lang="en-GB" altLang="da-DK" sz="900" b="1" i="0" u="none" strike="noStrike" kern="1200" cap="none" spc="0" normalizeH="0" baseline="0" noProof="1">
                <a:ln>
                  <a:noFill/>
                </a:ln>
                <a:solidFill>
                  <a:srgbClr val="002B45"/>
                </a:solidFill>
                <a:effectLst/>
                <a:uLnTx/>
                <a:uFillTx/>
                <a:latin typeface="DFDS Sans"/>
                <a:ea typeface="+mn-ea"/>
                <a:cs typeface="DFDS Sans" panose="00000500000000000000" pitchFamily="2" charset="0"/>
              </a:rPr>
              <a:t>Home</a:t>
            </a:r>
            <a:r>
              <a:rPr kumimoji="0" lang="en-GB" altLang="da-DK" sz="900" b="0" i="0" u="none" strike="noStrike" kern="1200" cap="none" spc="0" normalizeH="0" baseline="0" noProof="1">
                <a:ln>
                  <a:noFill/>
                </a:ln>
                <a:solidFill>
                  <a:srgbClr val="002B45"/>
                </a:solidFill>
                <a:effectLst/>
                <a:uLnTx/>
                <a:uFillTx/>
                <a:latin typeface="DFDS Sans"/>
                <a:ea typeface="+mn-ea"/>
                <a:cs typeface="DFDS Sans" panose="00000500000000000000" pitchFamily="2" charset="0"/>
              </a:rPr>
              <a:t> tab to insert a new slide</a:t>
            </a:r>
            <a:br>
              <a:rPr kumimoji="0" lang="en-GB" altLang="da-DK" sz="900" b="0" i="0" u="none" strike="noStrike" kern="1200" cap="none" spc="0" normalizeH="0" baseline="0" noProof="1">
                <a:ln>
                  <a:noFill/>
                </a:ln>
                <a:solidFill>
                  <a:srgbClr val="002B45"/>
                </a:solidFill>
                <a:effectLst/>
                <a:uLnTx/>
                <a:uFillTx/>
                <a:latin typeface="DFDS Sans"/>
                <a:ea typeface="+mn-ea"/>
                <a:cs typeface="DFDS Sans" panose="00000500000000000000" pitchFamily="2" charset="0"/>
              </a:rPr>
            </a:br>
            <a:br>
              <a:rPr kumimoji="0" lang="en-GB" altLang="da-DK" sz="900" b="0" i="0" u="none" strike="noStrike" kern="1200" cap="none" spc="0" normalizeH="0" baseline="0" noProof="1">
                <a:ln>
                  <a:noFill/>
                </a:ln>
                <a:solidFill>
                  <a:srgbClr val="002B45"/>
                </a:solidFill>
                <a:effectLst/>
                <a:uLnTx/>
                <a:uFillTx/>
                <a:latin typeface="DFDS Sans"/>
                <a:ea typeface="+mn-ea"/>
                <a:cs typeface="DFDS Sans" panose="00000500000000000000" pitchFamily="2" charset="0"/>
              </a:rPr>
            </a:br>
            <a:r>
              <a:rPr kumimoji="0" lang="en-GB" altLang="da-DK" sz="900" b="1" i="0" u="none" strike="noStrike" kern="1200" cap="none" spc="0" normalizeH="0" baseline="0" noProof="1">
                <a:ln>
                  <a:noFill/>
                </a:ln>
                <a:solidFill>
                  <a:srgbClr val="002B45"/>
                </a:solidFill>
                <a:effectLst/>
                <a:uLnTx/>
                <a:uFillTx/>
                <a:latin typeface="DFDS Sans"/>
                <a:ea typeface="+mn-ea"/>
                <a:cs typeface="DFDS Sans" panose="00000500000000000000" pitchFamily="2" charset="0"/>
              </a:rPr>
              <a:t>Change Layout</a:t>
            </a:r>
            <a:endParaRPr kumimoji="0" lang="en-GB" altLang="da-DK" sz="900" b="0" i="0" u="none" strike="noStrike" kern="1200" cap="none" spc="0" normalizeH="0" baseline="0" noProof="1">
              <a:ln>
                <a:noFill/>
              </a:ln>
              <a:solidFill>
                <a:srgbClr val="002B45"/>
              </a:solidFill>
              <a:effectLst/>
              <a:uLnTx/>
              <a:uFillTx/>
              <a:latin typeface="DFDS Sans"/>
              <a:ea typeface="+mn-ea"/>
              <a:cs typeface="DFDS Sans" panose="00000500000000000000" pitchFamily="2" charset="0"/>
            </a:endParaRPr>
          </a:p>
          <a:p>
            <a:pPr marL="0" marR="0" lvl="0" indent="0" algn="l" defTabSz="914400" rtl="0" eaLnBrk="1" fontAlgn="auto" latinLnBrk="0" hangingPunct="1">
              <a:lnSpc>
                <a:spcPct val="100000"/>
              </a:lnSpc>
              <a:spcBef>
                <a:spcPts val="0"/>
              </a:spcBef>
              <a:spcAft>
                <a:spcPts val="600"/>
              </a:spcAft>
              <a:buClrTx/>
              <a:buSzTx/>
              <a:buFont typeface="+mj-lt"/>
              <a:buNone/>
              <a:tabLst/>
              <a:defRPr/>
            </a:pPr>
            <a:r>
              <a:rPr kumimoji="0" lang="en-GB" sz="900" b="0" i="0" u="none" strike="noStrike" kern="1200" cap="none" spc="0" normalizeH="0" baseline="0" noProof="1">
                <a:ln>
                  <a:noFill/>
                </a:ln>
                <a:solidFill>
                  <a:srgbClr val="002B45"/>
                </a:solidFill>
                <a:effectLst/>
                <a:uLnTx/>
                <a:uFillTx/>
                <a:latin typeface="DFDS Sans"/>
                <a:ea typeface="DFDS Sans" panose="00000500000000000000" pitchFamily="2" charset="0"/>
                <a:cs typeface="+mn-cs"/>
              </a:rPr>
              <a:t>Click on the arrow next to </a:t>
            </a:r>
            <a:r>
              <a:rPr kumimoji="0" lang="en-GB" sz="900" b="1" i="0" u="none" strike="noStrike" kern="1200" cap="none" spc="0" normalizeH="0" baseline="0" noProof="1">
                <a:ln>
                  <a:noFill/>
                </a:ln>
                <a:solidFill>
                  <a:srgbClr val="002B45"/>
                </a:solidFill>
                <a:effectLst/>
                <a:uLnTx/>
                <a:uFillTx/>
                <a:latin typeface="DFDS Sans"/>
                <a:ea typeface="DFDS Sans" panose="00000500000000000000" pitchFamily="2" charset="0"/>
                <a:cs typeface="+mn-cs"/>
              </a:rPr>
              <a:t>Layout</a:t>
            </a:r>
            <a:br>
              <a:rPr kumimoji="0" lang="en-GB" sz="900" b="1" i="0" u="none" strike="noStrike" kern="1200" cap="none" spc="0" normalizeH="0" baseline="0" noProof="1">
                <a:ln>
                  <a:noFill/>
                </a:ln>
                <a:solidFill>
                  <a:srgbClr val="002B45"/>
                </a:solidFill>
                <a:effectLst/>
                <a:uLnTx/>
                <a:uFillTx/>
                <a:latin typeface="DFDS Sans"/>
                <a:ea typeface="DFDS Sans" panose="00000500000000000000" pitchFamily="2" charset="0"/>
                <a:cs typeface="+mn-cs"/>
              </a:rPr>
            </a:br>
            <a:r>
              <a:rPr kumimoji="0" lang="en-GB" sz="900" b="0" i="0" u="none" strike="noStrike" kern="1200" cap="none" spc="0" normalizeH="0" baseline="0" noProof="1">
                <a:ln>
                  <a:noFill/>
                </a:ln>
                <a:solidFill>
                  <a:srgbClr val="002B45"/>
                </a:solidFill>
                <a:effectLst/>
                <a:uLnTx/>
                <a:uFillTx/>
                <a:latin typeface="DFDS Sans"/>
                <a:ea typeface="DFDS Sans" panose="00000500000000000000" pitchFamily="2" charset="0"/>
                <a:cs typeface="+mn-cs"/>
              </a:rPr>
              <a:t>to view a dropdown menu of possible slide layouts</a:t>
            </a:r>
          </a:p>
        </p:txBody>
      </p:sp>
      <p:sp>
        <p:nvSpPr>
          <p:cNvPr id="14" name="Text Box 3">
            <a:extLst>
              <a:ext uri="{FF2B5EF4-FFF2-40B4-BE49-F238E27FC236}">
                <a16:creationId xmlns:a16="http://schemas.microsoft.com/office/drawing/2014/main" id="{66B3FBB4-61DE-493B-8F38-CB78E008D9BE}"/>
              </a:ext>
            </a:extLst>
          </p:cNvPr>
          <p:cNvSpPr txBox="1">
            <a:spLocks noChangeArrowheads="1"/>
          </p:cNvSpPr>
          <p:nvPr userDrawn="1"/>
        </p:nvSpPr>
        <p:spPr bwMode="auto">
          <a:xfrm>
            <a:off x="4223316" y="1615901"/>
            <a:ext cx="2768034" cy="40010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DFDS Sans" charset="0"/>
              </a:defRPr>
            </a:lvl1pPr>
            <a:lvl2pPr marL="742950" indent="-285750" eaLnBrk="0" hangingPunct="0">
              <a:defRPr>
                <a:solidFill>
                  <a:schemeClr val="tx1"/>
                </a:solidFill>
                <a:latin typeface="DFDS Sans" charset="0"/>
              </a:defRPr>
            </a:lvl2pPr>
            <a:lvl3pPr marL="1143000" indent="-228600" eaLnBrk="0" hangingPunct="0">
              <a:defRPr>
                <a:solidFill>
                  <a:schemeClr val="tx1"/>
                </a:solidFill>
                <a:latin typeface="DFDS Sans" charset="0"/>
              </a:defRPr>
            </a:lvl3pPr>
            <a:lvl4pPr marL="1600200" indent="-228600" eaLnBrk="0" hangingPunct="0">
              <a:defRPr>
                <a:solidFill>
                  <a:schemeClr val="tx1"/>
                </a:solidFill>
                <a:latin typeface="DFDS Sans" charset="0"/>
              </a:defRPr>
            </a:lvl4pPr>
            <a:lvl5pPr marL="2057400" indent="-228600" eaLnBrk="0" hangingPunct="0">
              <a:defRPr>
                <a:solidFill>
                  <a:schemeClr val="tx1"/>
                </a:solidFill>
                <a:latin typeface="DFDS Sans" charset="0"/>
              </a:defRPr>
            </a:lvl5pPr>
            <a:lvl6pPr marL="2514600" indent="-228600" eaLnBrk="0" fontAlgn="base" hangingPunct="0">
              <a:spcBef>
                <a:spcPct val="0"/>
              </a:spcBef>
              <a:spcAft>
                <a:spcPct val="0"/>
              </a:spcAft>
              <a:defRPr>
                <a:solidFill>
                  <a:schemeClr val="tx1"/>
                </a:solidFill>
                <a:latin typeface="DFDS Sans" charset="0"/>
              </a:defRPr>
            </a:lvl6pPr>
            <a:lvl7pPr marL="2971800" indent="-228600" eaLnBrk="0" fontAlgn="base" hangingPunct="0">
              <a:spcBef>
                <a:spcPct val="0"/>
              </a:spcBef>
              <a:spcAft>
                <a:spcPct val="0"/>
              </a:spcAft>
              <a:defRPr>
                <a:solidFill>
                  <a:schemeClr val="tx1"/>
                </a:solidFill>
                <a:latin typeface="DFDS Sans" charset="0"/>
              </a:defRPr>
            </a:lvl7pPr>
            <a:lvl8pPr marL="3429000" indent="-228600" eaLnBrk="0" fontAlgn="base" hangingPunct="0">
              <a:spcBef>
                <a:spcPct val="0"/>
              </a:spcBef>
              <a:spcAft>
                <a:spcPct val="0"/>
              </a:spcAft>
              <a:defRPr>
                <a:solidFill>
                  <a:schemeClr val="tx1"/>
                </a:solidFill>
                <a:latin typeface="DFDS Sans" charset="0"/>
              </a:defRPr>
            </a:lvl8pPr>
            <a:lvl9pPr marL="3886200" indent="-228600" eaLnBrk="0" fontAlgn="base" hangingPunct="0">
              <a:spcBef>
                <a:spcPct val="0"/>
              </a:spcBef>
              <a:spcAft>
                <a:spcPct val="0"/>
              </a:spcAft>
              <a:defRPr>
                <a:solidFill>
                  <a:schemeClr val="tx1"/>
                </a:solidFill>
                <a:latin typeface="DFDS Sans" charset="0"/>
              </a:defRPr>
            </a:lvl9pPr>
          </a:lstStyle>
          <a:p>
            <a:pPr marL="0" marR="0" lvl="0" indent="0" algn="l" defTabSz="914400" rtl="0" eaLnBrk="1" fontAlgn="auto" latinLnBrk="0" hangingPunct="1">
              <a:lnSpc>
                <a:spcPct val="100000"/>
              </a:lnSpc>
              <a:spcBef>
                <a:spcPts val="1200"/>
              </a:spcBef>
              <a:spcAft>
                <a:spcPts val="600"/>
              </a:spcAft>
              <a:buClrTx/>
              <a:buSzTx/>
              <a:buFont typeface="+mj-lt"/>
              <a:buNone/>
              <a:tabLst/>
              <a:defRPr/>
            </a:pPr>
            <a:r>
              <a:rPr kumimoji="0" lang="en-GB" sz="900" b="1" i="0" u="none" strike="noStrike" kern="1200" cap="none" spc="0" normalizeH="0" baseline="0" noProof="1">
                <a:ln>
                  <a:noFill/>
                </a:ln>
                <a:solidFill>
                  <a:srgbClr val="002B45"/>
                </a:solidFill>
                <a:effectLst/>
                <a:uLnTx/>
                <a:uFillTx/>
                <a:latin typeface="DFDS Sans"/>
                <a:ea typeface="+mn-ea"/>
                <a:cs typeface="DFDS Sans" panose="00000500000000000000" pitchFamily="2" charset="0"/>
              </a:rPr>
              <a:t>Reset Slide</a:t>
            </a:r>
          </a:p>
          <a:p>
            <a:pPr marL="0" marR="0" lvl="0" indent="0" algn="l" defTabSz="914400" rtl="0" eaLnBrk="1" fontAlgn="auto" latinLnBrk="0" hangingPunct="1">
              <a:lnSpc>
                <a:spcPct val="100000"/>
              </a:lnSpc>
              <a:spcBef>
                <a:spcPts val="0"/>
              </a:spcBef>
              <a:spcAft>
                <a:spcPts val="600"/>
              </a:spcAft>
              <a:buClrTx/>
              <a:buSzTx/>
              <a:buFont typeface="+mj-lt"/>
              <a:buNone/>
              <a:tabLst/>
              <a:defRPr/>
            </a:pPr>
            <a:r>
              <a:rPr kumimoji="0" lang="en-GB" altLang="da-DK" sz="900" b="1" i="0" u="none" strike="noStrike" kern="1200" cap="none" spc="0" normalizeH="0" baseline="0" noProof="1">
                <a:ln>
                  <a:noFill/>
                </a:ln>
                <a:solidFill>
                  <a:srgbClr val="002B45"/>
                </a:solidFill>
                <a:effectLst/>
                <a:uLnTx/>
                <a:uFillTx/>
                <a:latin typeface="DFDS Sans"/>
                <a:ea typeface="+mn-ea"/>
                <a:cs typeface="DFDS Sans" panose="00000500000000000000" pitchFamily="2" charset="0"/>
              </a:rPr>
              <a:t>1. </a:t>
            </a:r>
            <a:r>
              <a:rPr kumimoji="0" lang="en-GB" altLang="da-DK" sz="900" b="0" i="0" u="none" strike="noStrike" kern="1200" cap="none" spc="0" normalizeH="0" baseline="0" noProof="1">
                <a:ln>
                  <a:noFill/>
                </a:ln>
                <a:solidFill>
                  <a:srgbClr val="002B45"/>
                </a:solidFill>
                <a:effectLst/>
                <a:uLnTx/>
                <a:uFillTx/>
                <a:latin typeface="DFDS Sans"/>
                <a:ea typeface="+mn-ea"/>
                <a:cs typeface="DFDS Sans" panose="00000500000000000000" pitchFamily="2" charset="0"/>
              </a:rPr>
              <a:t>Click the </a:t>
            </a:r>
            <a:r>
              <a:rPr kumimoji="0" lang="en-GB" altLang="da-DK" sz="900" b="1" i="0" u="none" strike="noStrike" kern="1200" cap="none" spc="0" normalizeH="0" baseline="0" noProof="1">
                <a:ln>
                  <a:noFill/>
                </a:ln>
                <a:solidFill>
                  <a:srgbClr val="002B45"/>
                </a:solidFill>
                <a:effectLst/>
                <a:uLnTx/>
                <a:uFillTx/>
                <a:latin typeface="DFDS Sans"/>
                <a:ea typeface="+mn-ea"/>
                <a:cs typeface="DFDS Sans" panose="00000500000000000000" pitchFamily="2" charset="0"/>
              </a:rPr>
              <a:t>Home</a:t>
            </a:r>
            <a:r>
              <a:rPr kumimoji="0" lang="en-GB" altLang="da-DK" sz="900" b="0" i="0" u="none" strike="noStrike" kern="1200" cap="none" spc="0" normalizeH="0" baseline="0" noProof="1">
                <a:ln>
                  <a:noFill/>
                </a:ln>
                <a:solidFill>
                  <a:srgbClr val="002B45"/>
                </a:solidFill>
                <a:effectLst/>
                <a:uLnTx/>
                <a:uFillTx/>
                <a:latin typeface="DFDS Sans"/>
                <a:ea typeface="+mn-ea"/>
                <a:cs typeface="DFDS Sans" panose="00000500000000000000" pitchFamily="2" charset="0"/>
              </a:rPr>
              <a:t> tab</a:t>
            </a:r>
          </a:p>
          <a:p>
            <a:pPr marL="0" marR="0" lvl="0" indent="0" algn="l" defTabSz="914400" rtl="0" eaLnBrk="1" fontAlgn="auto" latinLnBrk="0" hangingPunct="1">
              <a:lnSpc>
                <a:spcPct val="100000"/>
              </a:lnSpc>
              <a:spcBef>
                <a:spcPts val="0"/>
              </a:spcBef>
              <a:spcAft>
                <a:spcPts val="600"/>
              </a:spcAft>
              <a:buClrTx/>
              <a:buSzTx/>
              <a:buFont typeface="+mj-lt"/>
              <a:buNone/>
              <a:tabLst/>
              <a:defRPr/>
            </a:pPr>
            <a:r>
              <a:rPr kumimoji="0" lang="en-GB" altLang="da-DK" sz="900" b="1" i="0" u="none" strike="noStrike" kern="1200" cap="none" spc="0" normalizeH="0" baseline="0" noProof="1">
                <a:ln>
                  <a:noFill/>
                </a:ln>
                <a:solidFill>
                  <a:srgbClr val="002B45"/>
                </a:solidFill>
                <a:effectLst/>
                <a:uLnTx/>
                <a:uFillTx/>
                <a:latin typeface="DFDS Sans"/>
                <a:ea typeface="+mn-ea"/>
                <a:cs typeface="DFDS Sans" panose="00000500000000000000" pitchFamily="2" charset="0"/>
              </a:rPr>
              <a:t>2. </a:t>
            </a:r>
            <a:r>
              <a:rPr kumimoji="0" lang="en-GB" altLang="da-DK" sz="900" b="0" i="0" u="none" strike="noStrike" kern="1200" cap="none" spc="0" normalizeH="0" baseline="0" noProof="1">
                <a:ln>
                  <a:noFill/>
                </a:ln>
                <a:solidFill>
                  <a:srgbClr val="002B45"/>
                </a:solidFill>
                <a:effectLst/>
                <a:uLnTx/>
                <a:uFillTx/>
                <a:latin typeface="DFDS Sans"/>
                <a:ea typeface="+mn-ea"/>
                <a:cs typeface="DFDS Sans" panose="00000500000000000000" pitchFamily="2" charset="0"/>
              </a:rPr>
              <a:t>Click the </a:t>
            </a:r>
            <a:r>
              <a:rPr kumimoji="0" lang="en-GB" altLang="da-DK" sz="900" b="1" i="0" u="none" strike="noStrike" kern="1200" cap="none" spc="0" normalizeH="0" baseline="0" noProof="1">
                <a:ln>
                  <a:noFill/>
                </a:ln>
                <a:solidFill>
                  <a:srgbClr val="002B45"/>
                </a:solidFill>
                <a:effectLst/>
                <a:uLnTx/>
                <a:uFillTx/>
                <a:latin typeface="DFDS Sans"/>
                <a:ea typeface="+mn-ea"/>
                <a:cs typeface="DFDS Sans" panose="00000500000000000000" pitchFamily="2" charset="0"/>
              </a:rPr>
              <a:t>Reset</a:t>
            </a:r>
            <a:r>
              <a:rPr kumimoji="0" lang="en-GB" altLang="da-DK" sz="900" b="0" i="0" u="none" strike="noStrike" kern="1200" cap="none" spc="0" normalizeH="0" baseline="0" noProof="1">
                <a:ln>
                  <a:noFill/>
                </a:ln>
                <a:solidFill>
                  <a:srgbClr val="002B45"/>
                </a:solidFill>
                <a:effectLst/>
                <a:uLnTx/>
                <a:uFillTx/>
                <a:latin typeface="DFDS Sans"/>
                <a:ea typeface="+mn-ea"/>
                <a:cs typeface="DFDS Sans" panose="00000500000000000000" pitchFamily="2" charset="0"/>
              </a:rPr>
              <a:t> menu to reset position, size and formatting of the slide placeholders to their default settings</a:t>
            </a:r>
          </a:p>
          <a:p>
            <a:pPr marL="0" marR="0" lvl="0" indent="0" algn="l" defTabSz="914400" rtl="0" eaLnBrk="1" fontAlgn="auto" latinLnBrk="0" hangingPunct="1">
              <a:lnSpc>
                <a:spcPct val="100000"/>
              </a:lnSpc>
              <a:spcBef>
                <a:spcPts val="0"/>
              </a:spcBef>
              <a:spcAft>
                <a:spcPts val="600"/>
              </a:spcAft>
              <a:buClrTx/>
              <a:buSzTx/>
              <a:buFont typeface="+mj-lt"/>
              <a:buNone/>
              <a:tabLst/>
              <a:defRPr/>
            </a:pPr>
            <a:endParaRPr kumimoji="0" lang="en-GB" sz="900" b="1" i="0" u="none" strike="noStrike" kern="1200" cap="none" spc="0" normalizeH="0" baseline="0" noProof="1">
              <a:ln>
                <a:noFill/>
              </a:ln>
              <a:solidFill>
                <a:srgbClr val="002B45"/>
              </a:solidFill>
              <a:effectLst/>
              <a:uLnTx/>
              <a:uFillTx/>
              <a:latin typeface="DFDS Sans"/>
              <a:ea typeface="+mn-ea"/>
              <a:cs typeface="DFDS Sans" panose="00000500000000000000" pitchFamily="2"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600" b="0" i="0" u="none" strike="noStrike" kern="1200" cap="none" spc="0" normalizeH="0" baseline="0" noProof="0">
                <a:ln>
                  <a:noFill/>
                </a:ln>
                <a:solidFill>
                  <a:srgbClr val="002B45"/>
                </a:solidFill>
                <a:effectLst/>
                <a:uLnTx/>
                <a:uFillTx/>
                <a:latin typeface="DFDS Sans"/>
                <a:ea typeface="+mn-ea"/>
                <a:cs typeface="DFDS Sans" panose="00000500000000000000" pitchFamily="2" charset="0"/>
              </a:rPr>
              <a:t>Pictures</a:t>
            </a:r>
            <a:endParaRPr kumimoji="0" lang="en-GB" sz="1600" b="1" i="0" u="none" strike="noStrike" kern="1200" cap="none" spc="0" normalizeH="0" baseline="0" noProof="1">
              <a:ln>
                <a:noFill/>
              </a:ln>
              <a:solidFill>
                <a:srgbClr val="002B45"/>
              </a:solidFill>
              <a:effectLst/>
              <a:uLnTx/>
              <a:uFillTx/>
              <a:latin typeface="DFDS Sans"/>
              <a:ea typeface="+mn-ea"/>
              <a:cs typeface="DFDS Sans" panose="00000500000000000000" pitchFamily="2"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altLang="da-DK" sz="900" b="0" i="0" u="none" strike="noStrike" kern="1200" cap="none" spc="0" normalizeH="0" baseline="0" noProof="1">
                <a:ln>
                  <a:noFill/>
                </a:ln>
                <a:solidFill>
                  <a:srgbClr val="002B45"/>
                </a:solidFill>
                <a:effectLst/>
                <a:uLnTx/>
                <a:uFillTx/>
                <a:latin typeface="DFDS Sans"/>
                <a:ea typeface="+mn-ea"/>
                <a:cs typeface="DFDS Sans" panose="00000500000000000000" pitchFamily="2" charset="0"/>
              </a:rPr>
              <a:t>On slides with pictureplaceholder, click on the icon and choose </a:t>
            </a:r>
            <a:r>
              <a:rPr kumimoji="0" lang="en-GB" altLang="da-DK" sz="900" b="1" i="0" u="none" strike="noStrike" kern="1200" cap="none" spc="0" normalizeH="0" baseline="0" noProof="1">
                <a:ln>
                  <a:noFill/>
                </a:ln>
                <a:solidFill>
                  <a:srgbClr val="002B45"/>
                </a:solidFill>
                <a:effectLst/>
                <a:uLnTx/>
                <a:uFillTx/>
                <a:latin typeface="DFDS Sans"/>
                <a:ea typeface="+mn-ea"/>
                <a:cs typeface="DFDS Sans" panose="00000500000000000000" pitchFamily="2" charset="0"/>
              </a:rPr>
              <a:t>Insert </a:t>
            </a:r>
            <a:r>
              <a:rPr kumimoji="0" lang="en-GB" altLang="da-DK" sz="900" b="0" i="0" u="none" strike="noStrike" kern="1200" cap="none" spc="0" normalizeH="0" baseline="0" noProof="1">
                <a:ln>
                  <a:noFill/>
                </a:ln>
                <a:solidFill>
                  <a:srgbClr val="002B45"/>
                </a:solidFill>
                <a:effectLst/>
                <a:uLnTx/>
                <a:uFillTx/>
                <a:latin typeface="DFDS Sans"/>
                <a:ea typeface="+mn-ea"/>
                <a:cs typeface="DFDS Sans" panose="00000500000000000000" pitchFamily="2" charset="0"/>
              </a:rPr>
              <a:t>to browse for picture</a:t>
            </a:r>
            <a:endParaRPr kumimoji="0" lang="en-GB" altLang="da-DK" sz="900" b="1" i="0" u="none" strike="noStrike" kern="1200" cap="none" spc="0" normalizeH="0" baseline="0" noProof="1">
              <a:ln>
                <a:noFill/>
              </a:ln>
              <a:solidFill>
                <a:srgbClr val="002B45"/>
              </a:solidFill>
              <a:effectLst/>
              <a:uLnTx/>
              <a:uFillTx/>
              <a:latin typeface="DFDS Sans"/>
              <a:ea typeface="+mn-ea"/>
              <a:cs typeface="DFDS Sans" panose="00000500000000000000" pitchFamily="2" charset="0"/>
            </a:endParaRPr>
          </a:p>
          <a:p>
            <a:pPr marL="0" marR="0" lvl="0" indent="0" algn="l" defTabSz="914400" rtl="0" eaLnBrk="1" fontAlgn="auto" latinLnBrk="0" hangingPunct="1">
              <a:lnSpc>
                <a:spcPct val="100000"/>
              </a:lnSpc>
              <a:spcBef>
                <a:spcPts val="1200"/>
              </a:spcBef>
              <a:spcAft>
                <a:spcPts val="600"/>
              </a:spcAft>
              <a:buClrTx/>
              <a:buSzTx/>
              <a:buFontTx/>
              <a:buNone/>
              <a:tabLst/>
              <a:defRPr/>
            </a:pPr>
            <a:r>
              <a:rPr kumimoji="0" lang="en-GB" sz="900" b="1" i="0" u="none" strike="noStrike" kern="1200" cap="none" spc="0" normalizeH="0" baseline="0" noProof="1">
                <a:ln>
                  <a:noFill/>
                </a:ln>
                <a:solidFill>
                  <a:srgbClr val="002B45"/>
                </a:solidFill>
                <a:effectLst/>
                <a:uLnTx/>
                <a:uFillTx/>
                <a:latin typeface="DFDS Sans"/>
                <a:ea typeface="+mn-ea"/>
                <a:cs typeface="DFDS Sans" panose="00000500000000000000" pitchFamily="2" charset="0"/>
              </a:rPr>
              <a:t>Crop Picture</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altLang="da-DK" sz="900" b="1" i="0" u="none" strike="noStrike" kern="1200" cap="none" spc="0" normalizeH="0" baseline="0" noProof="1">
                <a:ln>
                  <a:noFill/>
                </a:ln>
                <a:solidFill>
                  <a:srgbClr val="002B45"/>
                </a:solidFill>
                <a:effectLst/>
                <a:uLnTx/>
                <a:uFillTx/>
                <a:latin typeface="DFDS Sans"/>
                <a:ea typeface="+mn-ea"/>
                <a:cs typeface="DFDS Sans" panose="00000500000000000000" pitchFamily="2" charset="0"/>
              </a:rPr>
              <a:t>1. </a:t>
            </a:r>
            <a:r>
              <a:rPr kumimoji="0" lang="en-GB" altLang="da-DK" sz="900" b="0" i="0" u="none" strike="noStrike" kern="1200" cap="none" spc="0" normalizeH="0" baseline="0" noProof="1">
                <a:ln>
                  <a:noFill/>
                </a:ln>
                <a:solidFill>
                  <a:srgbClr val="002B45"/>
                </a:solidFill>
                <a:effectLst/>
                <a:uLnTx/>
                <a:uFillTx/>
                <a:latin typeface="DFDS Sans"/>
                <a:ea typeface="+mn-ea"/>
                <a:cs typeface="DFDS Sans" panose="00000500000000000000" pitchFamily="2" charset="0"/>
              </a:rPr>
              <a:t>Click </a:t>
            </a:r>
            <a:r>
              <a:rPr kumimoji="0" lang="en-GB" altLang="da-DK" sz="900" b="1" i="0" u="none" strike="noStrike" kern="1200" cap="none" spc="0" normalizeH="0" baseline="0" noProof="1">
                <a:ln>
                  <a:noFill/>
                </a:ln>
                <a:solidFill>
                  <a:srgbClr val="002B45"/>
                </a:solidFill>
                <a:effectLst/>
                <a:uLnTx/>
                <a:uFillTx/>
                <a:latin typeface="DFDS Sans"/>
                <a:ea typeface="+mn-ea"/>
                <a:cs typeface="DFDS Sans" panose="00000500000000000000" pitchFamily="2" charset="0"/>
              </a:rPr>
              <a:t>Crop</a:t>
            </a:r>
            <a:r>
              <a:rPr kumimoji="0" lang="en-GB" altLang="da-DK" sz="900" b="0" i="0" u="none" strike="noStrike" kern="1200" cap="none" spc="0" normalizeH="0" baseline="0" noProof="1">
                <a:ln>
                  <a:noFill/>
                </a:ln>
                <a:solidFill>
                  <a:srgbClr val="002B45"/>
                </a:solidFill>
                <a:effectLst/>
                <a:uLnTx/>
                <a:uFillTx/>
                <a:latin typeface="DFDS Sans"/>
                <a:ea typeface="+mn-ea"/>
                <a:cs typeface="DFDS Sans" panose="00000500000000000000" pitchFamily="2" charset="0"/>
              </a:rPr>
              <a:t> to change size or </a:t>
            </a:r>
            <a:br>
              <a:rPr kumimoji="0" lang="en-GB" altLang="da-DK" sz="900" b="0" i="0" u="none" strike="noStrike" kern="1200" cap="none" spc="0" normalizeH="0" baseline="0" noProof="1">
                <a:ln>
                  <a:noFill/>
                </a:ln>
                <a:solidFill>
                  <a:srgbClr val="002B45"/>
                </a:solidFill>
                <a:effectLst/>
                <a:uLnTx/>
                <a:uFillTx/>
                <a:latin typeface="DFDS Sans"/>
                <a:ea typeface="+mn-ea"/>
                <a:cs typeface="DFDS Sans" panose="00000500000000000000" pitchFamily="2" charset="0"/>
              </a:rPr>
            </a:br>
            <a:r>
              <a:rPr kumimoji="0" lang="en-GB" altLang="da-DK" sz="900" b="0" i="0" u="none" strike="noStrike" kern="1200" cap="none" spc="0" normalizeH="0" baseline="0" noProof="1">
                <a:ln>
                  <a:noFill/>
                </a:ln>
                <a:solidFill>
                  <a:srgbClr val="002B45"/>
                </a:solidFill>
                <a:effectLst/>
                <a:uLnTx/>
                <a:uFillTx/>
                <a:latin typeface="DFDS Sans"/>
                <a:ea typeface="+mn-ea"/>
                <a:cs typeface="DFDS Sans" panose="00000500000000000000" pitchFamily="2" charset="0"/>
              </a:rPr>
              <a:t>focus of the picture</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altLang="da-DK" sz="900" b="1" i="0" u="none" strike="noStrike" kern="1200" cap="none" spc="0" normalizeH="0" baseline="0" noProof="1">
                <a:ln>
                  <a:noFill/>
                </a:ln>
                <a:solidFill>
                  <a:srgbClr val="002B45"/>
                </a:solidFill>
                <a:effectLst/>
                <a:uLnTx/>
                <a:uFillTx/>
                <a:latin typeface="DFDS Sans"/>
                <a:ea typeface="+mn-ea"/>
                <a:cs typeface="DFDS Sans" panose="00000500000000000000" pitchFamily="2" charset="0"/>
              </a:rPr>
              <a:t>2. </a:t>
            </a:r>
            <a:r>
              <a:rPr kumimoji="0" lang="en-GB" altLang="da-DK" sz="900" b="0" i="0" u="none" strike="noStrike" kern="1200" cap="none" spc="0" normalizeH="0" baseline="0" noProof="1">
                <a:ln>
                  <a:noFill/>
                </a:ln>
                <a:solidFill>
                  <a:srgbClr val="002B45"/>
                </a:solidFill>
                <a:effectLst/>
                <a:uLnTx/>
                <a:uFillTx/>
                <a:latin typeface="DFDS Sans"/>
                <a:ea typeface="+mn-ea"/>
                <a:cs typeface="DFDS Sans" panose="00000500000000000000" pitchFamily="2" charset="0"/>
              </a:rPr>
              <a:t>If you want to scale the picture, </a:t>
            </a:r>
            <a:br>
              <a:rPr kumimoji="0" lang="en-GB" altLang="da-DK" sz="900" b="0" i="0" u="none" strike="noStrike" kern="1200" cap="none" spc="0" normalizeH="0" baseline="0" noProof="1">
                <a:ln>
                  <a:noFill/>
                </a:ln>
                <a:solidFill>
                  <a:srgbClr val="002B45"/>
                </a:solidFill>
                <a:effectLst/>
                <a:uLnTx/>
                <a:uFillTx/>
                <a:latin typeface="DFDS Sans"/>
                <a:ea typeface="+mn-ea"/>
                <a:cs typeface="DFDS Sans" panose="00000500000000000000" pitchFamily="2" charset="0"/>
              </a:rPr>
            </a:br>
            <a:r>
              <a:rPr kumimoji="0" lang="en-GB" altLang="da-DK" sz="900" b="0" i="0" u="none" strike="noStrike" kern="1200" cap="none" spc="0" normalizeH="0" baseline="0" noProof="1">
                <a:ln>
                  <a:noFill/>
                </a:ln>
                <a:solidFill>
                  <a:srgbClr val="002B45"/>
                </a:solidFill>
                <a:effectLst/>
                <a:uLnTx/>
                <a:uFillTx/>
                <a:latin typeface="DFDS Sans"/>
                <a:ea typeface="+mn-ea"/>
                <a:cs typeface="DFDS Sans" panose="00000500000000000000" pitchFamily="2" charset="0"/>
              </a:rPr>
              <a:t>hold </a:t>
            </a:r>
            <a:r>
              <a:rPr kumimoji="0" lang="en-GB" altLang="da-DK" sz="900" b="1" i="0" u="none" strike="noStrike" kern="1200" cap="none" spc="0" normalizeH="0" baseline="0" noProof="1">
                <a:ln>
                  <a:noFill/>
                </a:ln>
                <a:solidFill>
                  <a:srgbClr val="002B45"/>
                </a:solidFill>
                <a:effectLst/>
                <a:uLnTx/>
                <a:uFillTx/>
                <a:latin typeface="DFDS Sans"/>
                <a:ea typeface="+mn-ea"/>
                <a:cs typeface="DFDS Sans" panose="00000500000000000000" pitchFamily="2" charset="0"/>
              </a:rPr>
              <a:t>SHIFT</a:t>
            </a:r>
            <a:r>
              <a:rPr kumimoji="0" lang="en-GB" altLang="da-DK" sz="900" b="0" i="0" u="none" strike="noStrike" kern="1200" cap="none" spc="0" normalizeH="0" baseline="0" noProof="1">
                <a:ln>
                  <a:noFill/>
                </a:ln>
                <a:solidFill>
                  <a:srgbClr val="002B45"/>
                </a:solidFill>
                <a:effectLst/>
                <a:uLnTx/>
                <a:uFillTx/>
                <a:latin typeface="DFDS Sans"/>
                <a:ea typeface="+mn-ea"/>
                <a:cs typeface="DFDS Sans" panose="00000500000000000000" pitchFamily="2" charset="0"/>
              </a:rPr>
              <a:t>-key down while </a:t>
            </a:r>
            <a:br>
              <a:rPr kumimoji="0" lang="en-GB" altLang="da-DK" sz="900" b="0" i="0" u="none" strike="noStrike" kern="1200" cap="none" spc="0" normalizeH="0" baseline="0" noProof="1">
                <a:ln>
                  <a:noFill/>
                </a:ln>
                <a:solidFill>
                  <a:srgbClr val="002B45"/>
                </a:solidFill>
                <a:effectLst/>
                <a:uLnTx/>
                <a:uFillTx/>
                <a:latin typeface="DFDS Sans"/>
                <a:ea typeface="+mn-ea"/>
                <a:cs typeface="DFDS Sans" panose="00000500000000000000" pitchFamily="2" charset="0"/>
              </a:rPr>
            </a:br>
            <a:r>
              <a:rPr kumimoji="0" lang="en-GB" altLang="da-DK" sz="900" b="0" i="0" u="none" strike="noStrike" kern="1200" cap="none" spc="0" normalizeH="0" baseline="0" noProof="1">
                <a:ln>
                  <a:noFill/>
                </a:ln>
                <a:solidFill>
                  <a:srgbClr val="002B45"/>
                </a:solidFill>
                <a:effectLst/>
                <a:uLnTx/>
                <a:uFillTx/>
                <a:latin typeface="DFDS Sans"/>
                <a:ea typeface="+mn-ea"/>
                <a:cs typeface="DFDS Sans" panose="00000500000000000000" pitchFamily="2" charset="0"/>
              </a:rPr>
              <a:t>dragging the corners of the picture</a:t>
            </a:r>
            <a:br>
              <a:rPr kumimoji="0" lang="en-GB" altLang="da-DK" sz="900" b="0" i="0" u="none" strike="noStrike" kern="1200" cap="none" spc="0" normalizeH="0" baseline="0" noProof="1">
                <a:ln>
                  <a:noFill/>
                </a:ln>
                <a:solidFill>
                  <a:srgbClr val="002B45"/>
                </a:solidFill>
                <a:effectLst/>
                <a:uLnTx/>
                <a:uFillTx/>
                <a:latin typeface="DFDS Sans"/>
                <a:ea typeface="+mn-ea"/>
                <a:cs typeface="DFDS Sans" panose="00000500000000000000" pitchFamily="2" charset="0"/>
              </a:rPr>
            </a:br>
            <a:endParaRPr kumimoji="0" lang="en-GB" altLang="da-DK" sz="900" b="0" i="0" u="none" strike="noStrike" kern="1200" cap="none" spc="0" normalizeH="0" baseline="0" noProof="1">
              <a:ln>
                <a:noFill/>
              </a:ln>
              <a:solidFill>
                <a:srgbClr val="002B45"/>
              </a:solidFill>
              <a:effectLst/>
              <a:uLnTx/>
              <a:uFillTx/>
              <a:latin typeface="DFDS Sans"/>
              <a:ea typeface="+mn-ea"/>
              <a:cs typeface="DFDS Sans" panose="00000500000000000000" pitchFamily="2"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altLang="da-DK" sz="900" b="1" i="0" u="none" strike="noStrike" kern="1200" cap="none" spc="0" normalizeH="0" baseline="0" noProof="1">
                <a:ln>
                  <a:noFill/>
                </a:ln>
                <a:solidFill>
                  <a:srgbClr val="002B45"/>
                </a:solidFill>
                <a:effectLst/>
                <a:uLnTx/>
                <a:uFillTx/>
                <a:latin typeface="DFDS Sans"/>
                <a:ea typeface="+mn-ea"/>
                <a:cs typeface="DFDS Sans" panose="00000500000000000000" pitchFamily="2" charset="0"/>
              </a:rPr>
              <a:t>HINT: </a:t>
            </a:r>
            <a:r>
              <a:rPr kumimoji="0" lang="en-GB" altLang="da-DK" sz="900" b="0" i="0" u="none" strike="noStrike" kern="1200" cap="none" spc="0" normalizeH="0" baseline="0" noProof="1">
                <a:ln>
                  <a:noFill/>
                </a:ln>
                <a:solidFill>
                  <a:srgbClr val="002B45"/>
                </a:solidFill>
                <a:effectLst/>
                <a:uLnTx/>
                <a:uFillTx/>
                <a:latin typeface="DFDS Sans"/>
                <a:ea typeface="+mn-ea"/>
                <a:cs typeface="DFDS Sans" panose="00000500000000000000" pitchFamily="2" charset="0"/>
              </a:rPr>
              <a:t>If you delete the picture and </a:t>
            </a:r>
            <a:br>
              <a:rPr kumimoji="0" lang="en-GB" altLang="da-DK" sz="900" b="0" i="0" u="none" strike="noStrike" kern="1200" cap="none" spc="0" normalizeH="0" baseline="0" noProof="1">
                <a:ln>
                  <a:noFill/>
                </a:ln>
                <a:solidFill>
                  <a:srgbClr val="002B45"/>
                </a:solidFill>
                <a:effectLst/>
                <a:uLnTx/>
                <a:uFillTx/>
                <a:latin typeface="DFDS Sans"/>
                <a:ea typeface="+mn-ea"/>
                <a:cs typeface="DFDS Sans" panose="00000500000000000000" pitchFamily="2" charset="0"/>
              </a:rPr>
            </a:br>
            <a:r>
              <a:rPr kumimoji="0" lang="en-GB" altLang="da-DK" sz="900" b="0" i="0" u="none" strike="noStrike" kern="1200" cap="none" spc="0" normalizeH="0" baseline="0" noProof="1">
                <a:ln>
                  <a:noFill/>
                </a:ln>
                <a:solidFill>
                  <a:srgbClr val="002B45"/>
                </a:solidFill>
                <a:effectLst/>
                <a:uLnTx/>
                <a:uFillTx/>
                <a:latin typeface="DFDS Sans"/>
                <a:ea typeface="+mn-ea"/>
                <a:cs typeface="DFDS Sans" panose="00000500000000000000" pitchFamily="2" charset="0"/>
              </a:rPr>
              <a:t>insert a new one, the picture may </a:t>
            </a:r>
            <a:br>
              <a:rPr kumimoji="0" lang="en-GB" altLang="da-DK" sz="900" b="0" i="0" u="none" strike="noStrike" kern="1200" cap="none" spc="0" normalizeH="0" baseline="0" noProof="1">
                <a:ln>
                  <a:noFill/>
                </a:ln>
                <a:solidFill>
                  <a:srgbClr val="002B45"/>
                </a:solidFill>
                <a:effectLst/>
                <a:uLnTx/>
                <a:uFillTx/>
                <a:latin typeface="DFDS Sans"/>
                <a:ea typeface="+mn-ea"/>
                <a:cs typeface="DFDS Sans" panose="00000500000000000000" pitchFamily="2" charset="0"/>
              </a:rPr>
            </a:br>
            <a:r>
              <a:rPr kumimoji="0" lang="en-GB" altLang="da-DK" sz="900" b="0" i="0" u="none" strike="noStrike" kern="1200" cap="none" spc="0" normalizeH="0" baseline="0" noProof="1">
                <a:ln>
                  <a:noFill/>
                </a:ln>
                <a:solidFill>
                  <a:srgbClr val="002B45"/>
                </a:solidFill>
                <a:effectLst/>
                <a:uLnTx/>
                <a:uFillTx/>
                <a:latin typeface="DFDS Sans"/>
                <a:ea typeface="+mn-ea"/>
                <a:cs typeface="DFDS Sans" panose="00000500000000000000" pitchFamily="2" charset="0"/>
              </a:rPr>
              <a:t>lie in front of the text or graphic.</a:t>
            </a:r>
            <a:br>
              <a:rPr kumimoji="0" lang="en-GB" altLang="da-DK" sz="900" b="0" i="0" u="none" strike="noStrike" kern="1200" cap="none" spc="0" normalizeH="0" baseline="0" noProof="1">
                <a:ln>
                  <a:noFill/>
                </a:ln>
                <a:solidFill>
                  <a:srgbClr val="002B45"/>
                </a:solidFill>
                <a:effectLst/>
                <a:uLnTx/>
                <a:uFillTx/>
                <a:latin typeface="DFDS Sans"/>
                <a:ea typeface="+mn-ea"/>
                <a:cs typeface="DFDS Sans" panose="00000500000000000000" pitchFamily="2" charset="0"/>
              </a:rPr>
            </a:br>
            <a:r>
              <a:rPr kumimoji="0" lang="en-GB" altLang="da-DK" sz="900" b="0" i="0" u="none" strike="noStrike" kern="1200" cap="none" spc="0" normalizeH="0" baseline="0" noProof="1">
                <a:ln>
                  <a:noFill/>
                </a:ln>
                <a:solidFill>
                  <a:srgbClr val="002B45"/>
                </a:solidFill>
                <a:effectLst/>
                <a:uLnTx/>
                <a:uFillTx/>
                <a:latin typeface="DFDS Sans"/>
                <a:ea typeface="+mn-ea"/>
                <a:cs typeface="DFDS Sans" panose="00000500000000000000" pitchFamily="2" charset="0"/>
              </a:rPr>
              <a:t>If this happens, select the picture, </a:t>
            </a:r>
            <a:br>
              <a:rPr kumimoji="0" lang="en-GB" altLang="da-DK" sz="900" b="0" i="0" u="none" strike="noStrike" kern="1200" cap="none" spc="0" normalizeH="0" baseline="0" noProof="1">
                <a:ln>
                  <a:noFill/>
                </a:ln>
                <a:solidFill>
                  <a:srgbClr val="002B45"/>
                </a:solidFill>
                <a:effectLst/>
                <a:uLnTx/>
                <a:uFillTx/>
                <a:latin typeface="DFDS Sans"/>
                <a:ea typeface="+mn-ea"/>
                <a:cs typeface="DFDS Sans" panose="00000500000000000000" pitchFamily="2" charset="0"/>
              </a:rPr>
            </a:br>
            <a:r>
              <a:rPr kumimoji="0" lang="en-GB" altLang="da-DK" sz="900" b="0" i="0" u="none" strike="noStrike" kern="1200" cap="none" spc="0" normalizeH="0" baseline="0" noProof="1">
                <a:ln>
                  <a:noFill/>
                </a:ln>
                <a:solidFill>
                  <a:srgbClr val="002B45"/>
                </a:solidFill>
                <a:effectLst/>
                <a:uLnTx/>
                <a:uFillTx/>
                <a:latin typeface="DFDS Sans"/>
                <a:ea typeface="+mn-ea"/>
                <a:cs typeface="DFDS Sans" panose="00000500000000000000" pitchFamily="2" charset="0"/>
              </a:rPr>
              <a:t>right-click and choose </a:t>
            </a:r>
            <a:r>
              <a:rPr kumimoji="0" lang="en-GB" altLang="da-DK" sz="900" b="1" i="0" u="none" strike="noStrike" kern="1200" cap="none" spc="0" normalizeH="0" baseline="0" noProof="1">
                <a:ln>
                  <a:noFill/>
                </a:ln>
                <a:solidFill>
                  <a:srgbClr val="002B45"/>
                </a:solidFill>
                <a:effectLst/>
                <a:uLnTx/>
                <a:uFillTx/>
                <a:latin typeface="DFDS Sans"/>
                <a:ea typeface="+mn-ea"/>
                <a:cs typeface="DFDS Sans" panose="00000500000000000000" pitchFamily="2" charset="0"/>
              </a:rPr>
              <a:t>Send to Back</a:t>
            </a:r>
          </a:p>
        </p:txBody>
      </p:sp>
      <p:sp>
        <p:nvSpPr>
          <p:cNvPr id="15" name="Text Box 4">
            <a:extLst>
              <a:ext uri="{FF2B5EF4-FFF2-40B4-BE49-F238E27FC236}">
                <a16:creationId xmlns:a16="http://schemas.microsoft.com/office/drawing/2014/main" id="{17EA80A0-F605-4897-AE2A-18933CAB6DBB}"/>
              </a:ext>
            </a:extLst>
          </p:cNvPr>
          <p:cNvSpPr txBox="1">
            <a:spLocks noChangeArrowheads="1"/>
          </p:cNvSpPr>
          <p:nvPr userDrawn="1"/>
        </p:nvSpPr>
        <p:spPr bwMode="auto">
          <a:xfrm>
            <a:off x="8166666" y="1606550"/>
            <a:ext cx="2778124" cy="44165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eaLnBrk="0" hangingPunct="0">
              <a:defRPr>
                <a:solidFill>
                  <a:schemeClr val="tx1"/>
                </a:solidFill>
                <a:latin typeface="DFDS Sans" charset="0"/>
              </a:defRPr>
            </a:lvl1pPr>
            <a:lvl2pPr marL="742950" indent="-285750" eaLnBrk="0" hangingPunct="0">
              <a:defRPr>
                <a:solidFill>
                  <a:schemeClr val="tx1"/>
                </a:solidFill>
                <a:latin typeface="DFDS Sans" charset="0"/>
              </a:defRPr>
            </a:lvl2pPr>
            <a:lvl3pPr marL="1143000" indent="-228600" eaLnBrk="0" hangingPunct="0">
              <a:defRPr>
                <a:solidFill>
                  <a:schemeClr val="tx1"/>
                </a:solidFill>
                <a:latin typeface="DFDS Sans" charset="0"/>
              </a:defRPr>
            </a:lvl3pPr>
            <a:lvl4pPr marL="1600200" indent="-228600" eaLnBrk="0" hangingPunct="0">
              <a:defRPr>
                <a:solidFill>
                  <a:schemeClr val="tx1"/>
                </a:solidFill>
                <a:latin typeface="DFDS Sans" charset="0"/>
              </a:defRPr>
            </a:lvl4pPr>
            <a:lvl5pPr marL="2057400" indent="-228600" eaLnBrk="0" hangingPunct="0">
              <a:defRPr>
                <a:solidFill>
                  <a:schemeClr val="tx1"/>
                </a:solidFill>
                <a:latin typeface="DFDS Sans" charset="0"/>
              </a:defRPr>
            </a:lvl5pPr>
            <a:lvl6pPr marL="2514600" indent="-228600" eaLnBrk="0" fontAlgn="base" hangingPunct="0">
              <a:spcBef>
                <a:spcPct val="0"/>
              </a:spcBef>
              <a:spcAft>
                <a:spcPct val="0"/>
              </a:spcAft>
              <a:defRPr>
                <a:solidFill>
                  <a:schemeClr val="tx1"/>
                </a:solidFill>
                <a:latin typeface="DFDS Sans" charset="0"/>
              </a:defRPr>
            </a:lvl6pPr>
            <a:lvl7pPr marL="2971800" indent="-228600" eaLnBrk="0" fontAlgn="base" hangingPunct="0">
              <a:spcBef>
                <a:spcPct val="0"/>
              </a:spcBef>
              <a:spcAft>
                <a:spcPct val="0"/>
              </a:spcAft>
              <a:defRPr>
                <a:solidFill>
                  <a:schemeClr val="tx1"/>
                </a:solidFill>
                <a:latin typeface="DFDS Sans" charset="0"/>
              </a:defRPr>
            </a:lvl7pPr>
            <a:lvl8pPr marL="3429000" indent="-228600" eaLnBrk="0" fontAlgn="base" hangingPunct="0">
              <a:spcBef>
                <a:spcPct val="0"/>
              </a:spcBef>
              <a:spcAft>
                <a:spcPct val="0"/>
              </a:spcAft>
              <a:defRPr>
                <a:solidFill>
                  <a:schemeClr val="tx1"/>
                </a:solidFill>
                <a:latin typeface="DFDS Sans" charset="0"/>
              </a:defRPr>
            </a:lvl8pPr>
            <a:lvl9pPr marL="3886200" indent="-228600" eaLnBrk="0" fontAlgn="base" hangingPunct="0">
              <a:spcBef>
                <a:spcPct val="0"/>
              </a:spcBef>
              <a:spcAft>
                <a:spcPct val="0"/>
              </a:spcAft>
              <a:defRPr>
                <a:solidFill>
                  <a:schemeClr val="tx1"/>
                </a:solidFill>
                <a:latin typeface="DFDS Sans"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600" b="0" i="0" u="none" strike="noStrike" kern="1200" cap="none" spc="0" normalizeH="0" baseline="0" noProof="0">
                <a:ln>
                  <a:noFill/>
                </a:ln>
                <a:solidFill>
                  <a:srgbClr val="002B45"/>
                </a:solidFill>
                <a:effectLst/>
                <a:uLnTx/>
                <a:uFillTx/>
                <a:latin typeface="DFDS Sans"/>
                <a:ea typeface="+mn-ea"/>
                <a:cs typeface="DFDS Sans" panose="00000500000000000000" pitchFamily="2" charset="0"/>
              </a:rPr>
              <a:t>Header &amp; Footer</a:t>
            </a:r>
            <a:endParaRPr kumimoji="0" lang="en-GB" altLang="da-DK" sz="1600" b="0" i="0" u="none" strike="noStrike" kern="1200" cap="none" spc="0" normalizeH="0" baseline="0" noProof="1">
              <a:ln>
                <a:noFill/>
              </a:ln>
              <a:solidFill>
                <a:srgbClr val="002B45"/>
              </a:solidFill>
              <a:effectLst/>
              <a:uLnTx/>
              <a:uFillTx/>
              <a:latin typeface="DFDS Sans"/>
              <a:ea typeface="+mn-ea"/>
              <a:cs typeface="DFDS Sans" panose="00000500000000000000" pitchFamily="2"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altLang="da-DK" sz="900" b="0" i="0" u="none" strike="noStrike" kern="1200" cap="none" spc="0" normalizeH="0" baseline="0" noProof="1">
                <a:ln>
                  <a:noFill/>
                </a:ln>
                <a:solidFill>
                  <a:srgbClr val="002B45"/>
                </a:solidFill>
                <a:effectLst/>
                <a:uLnTx/>
                <a:uFillTx/>
                <a:latin typeface="DFDS Sans"/>
                <a:ea typeface="+mn-ea"/>
                <a:cs typeface="DFDS Sans" panose="00000500000000000000" pitchFamily="2" charset="0"/>
              </a:rPr>
              <a:t>Do this at the very end to apply the changes on all slides</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altLang="da-DK" sz="900" b="0" i="0" u="none" strike="noStrike" kern="1200" cap="none" spc="0" normalizeH="0" baseline="0" noProof="1">
                <a:ln>
                  <a:noFill/>
                </a:ln>
                <a:solidFill>
                  <a:srgbClr val="002B45"/>
                </a:solidFill>
                <a:effectLst/>
                <a:uLnTx/>
                <a:uFillTx/>
                <a:latin typeface="DFDS Sans"/>
                <a:ea typeface="+mn-ea"/>
                <a:cs typeface="DFDS Sans" panose="00000500000000000000" pitchFamily="2" charset="0"/>
              </a:rPr>
              <a:t>Click on </a:t>
            </a:r>
            <a:r>
              <a:rPr kumimoji="0" lang="en-GB" altLang="da-DK" sz="900" b="1" i="0" u="none" strike="noStrike" kern="1200" cap="none" spc="0" normalizeH="0" baseline="0" noProof="1">
                <a:ln>
                  <a:noFill/>
                </a:ln>
                <a:solidFill>
                  <a:srgbClr val="002B45"/>
                </a:solidFill>
                <a:effectLst/>
                <a:uLnTx/>
                <a:uFillTx/>
                <a:latin typeface="DFDS Sans"/>
                <a:ea typeface="+mn-ea"/>
                <a:cs typeface="DFDS Sans" panose="00000500000000000000" pitchFamily="2" charset="0"/>
              </a:rPr>
              <a:t>Header and Footer </a:t>
            </a:r>
            <a:r>
              <a:rPr kumimoji="0" lang="en-GB" altLang="da-DK" sz="900" b="0" i="0" u="none" strike="noStrike" kern="1200" cap="none" spc="0" normalizeH="0" baseline="0" noProof="1">
                <a:ln>
                  <a:noFill/>
                </a:ln>
                <a:solidFill>
                  <a:srgbClr val="002B45"/>
                </a:solidFill>
                <a:effectLst/>
                <a:uLnTx/>
                <a:uFillTx/>
                <a:latin typeface="DFDS Sans"/>
                <a:ea typeface="+mn-ea"/>
                <a:cs typeface="DFDS Sans" panose="00000500000000000000" pitchFamily="2" charset="0"/>
              </a:rPr>
              <a:t>in the </a:t>
            </a:r>
            <a:r>
              <a:rPr kumimoji="0" lang="en-GB" altLang="da-DK" sz="900" b="1" i="0" u="none" strike="noStrike" kern="1200" cap="none" spc="0" normalizeH="0" baseline="0" noProof="1">
                <a:ln>
                  <a:noFill/>
                </a:ln>
                <a:solidFill>
                  <a:srgbClr val="002B45"/>
                </a:solidFill>
                <a:effectLst/>
                <a:uLnTx/>
                <a:uFillTx/>
                <a:latin typeface="DFDS Sans"/>
                <a:ea typeface="+mn-ea"/>
                <a:cs typeface="DFDS Sans" panose="00000500000000000000" pitchFamily="2" charset="0"/>
              </a:rPr>
              <a:t>Insert</a:t>
            </a:r>
            <a:r>
              <a:rPr kumimoji="0" lang="en-GB" altLang="da-DK" sz="900" b="0" i="0" u="none" strike="noStrike" kern="1200" cap="none" spc="0" normalizeH="0" baseline="0" noProof="1">
                <a:ln>
                  <a:noFill/>
                </a:ln>
                <a:solidFill>
                  <a:srgbClr val="002B45"/>
                </a:solidFill>
                <a:effectLst/>
                <a:uLnTx/>
                <a:uFillTx/>
                <a:latin typeface="DFDS Sans"/>
                <a:ea typeface="+mn-ea"/>
                <a:cs typeface="DFDS Sans" panose="00000500000000000000" pitchFamily="2" charset="0"/>
              </a:rPr>
              <a:t> tab (write the desired text)</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altLang="da-DK" sz="900" b="0" i="0" u="none" strike="noStrike" kern="1200" cap="none" spc="0" normalizeH="0" baseline="0" noProof="1">
                <a:ln>
                  <a:noFill/>
                </a:ln>
                <a:solidFill>
                  <a:srgbClr val="002B45"/>
                </a:solidFill>
                <a:effectLst/>
                <a:uLnTx/>
                <a:uFillTx/>
                <a:latin typeface="DFDS Sans"/>
                <a:ea typeface="+mn-ea"/>
                <a:cs typeface="DFDS Sans" panose="00000500000000000000" pitchFamily="2" charset="0"/>
              </a:rPr>
              <a:t>Click </a:t>
            </a:r>
            <a:r>
              <a:rPr kumimoji="0" lang="en-GB" altLang="da-DK" sz="900" b="1" i="0" u="none" strike="noStrike" kern="1200" cap="none" spc="0" normalizeH="0" baseline="0" noProof="1">
                <a:ln>
                  <a:noFill/>
                </a:ln>
                <a:solidFill>
                  <a:srgbClr val="002B45"/>
                </a:solidFill>
                <a:effectLst/>
                <a:uLnTx/>
                <a:uFillTx/>
                <a:latin typeface="DFDS Sans"/>
                <a:ea typeface="+mn-ea"/>
                <a:cs typeface="DFDS Sans" panose="00000500000000000000" pitchFamily="2" charset="0"/>
              </a:rPr>
              <a:t>Apply to All </a:t>
            </a:r>
            <a:r>
              <a:rPr kumimoji="0" lang="en-GB" altLang="da-DK" sz="900" b="0" i="0" u="none" strike="noStrike" kern="1200" cap="none" spc="0" normalizeH="0" baseline="0" noProof="1">
                <a:ln>
                  <a:noFill/>
                </a:ln>
                <a:solidFill>
                  <a:srgbClr val="002B45"/>
                </a:solidFill>
                <a:effectLst/>
                <a:uLnTx/>
                <a:uFillTx/>
                <a:latin typeface="DFDS Sans"/>
                <a:ea typeface="+mn-ea"/>
                <a:cs typeface="DFDS Sans" panose="00000500000000000000" pitchFamily="2" charset="0"/>
              </a:rPr>
              <a:t>or </a:t>
            </a:r>
            <a:r>
              <a:rPr kumimoji="0" lang="en-GB" altLang="da-DK" sz="900" b="1" i="0" u="none" strike="noStrike" kern="1200" cap="none" spc="0" normalizeH="0" baseline="0" noProof="1">
                <a:ln>
                  <a:noFill/>
                </a:ln>
                <a:solidFill>
                  <a:srgbClr val="002B45"/>
                </a:solidFill>
                <a:effectLst/>
                <a:uLnTx/>
                <a:uFillTx/>
                <a:latin typeface="DFDS Sans"/>
                <a:ea typeface="+mn-ea"/>
                <a:cs typeface="DFDS Sans" panose="00000500000000000000" pitchFamily="2" charset="0"/>
              </a:rPr>
              <a:t>Apply</a:t>
            </a:r>
            <a:r>
              <a:rPr kumimoji="0" lang="en-GB" altLang="da-DK" sz="900" b="0" i="0" u="none" strike="noStrike" kern="1200" cap="none" spc="0" normalizeH="0" baseline="0" noProof="1">
                <a:ln>
                  <a:noFill/>
                </a:ln>
                <a:solidFill>
                  <a:srgbClr val="002B45"/>
                </a:solidFill>
                <a:effectLst/>
                <a:uLnTx/>
                <a:uFillTx/>
                <a:latin typeface="DFDS Sans"/>
                <a:ea typeface="+mn-ea"/>
                <a:cs typeface="DFDS Sans" panose="00000500000000000000" pitchFamily="2" charset="0"/>
              </a:rPr>
              <a:t> to selected slide</a:t>
            </a:r>
            <a:br>
              <a:rPr kumimoji="0" lang="en-GB" altLang="da-DK" sz="900" b="0" i="0" u="none" strike="noStrike" kern="1200" cap="none" spc="0" normalizeH="0" baseline="0" noProof="1">
                <a:ln>
                  <a:noFill/>
                </a:ln>
                <a:solidFill>
                  <a:srgbClr val="002B45"/>
                </a:solidFill>
                <a:effectLst/>
                <a:uLnTx/>
                <a:uFillTx/>
                <a:latin typeface="DFDS Sans"/>
                <a:ea typeface="+mn-ea"/>
                <a:cs typeface="DFDS Sans" panose="00000500000000000000" pitchFamily="2" charset="0"/>
              </a:rPr>
            </a:br>
            <a:endParaRPr kumimoji="0" lang="en-GB" altLang="da-DK" sz="900" b="0" i="0" u="none" strike="noStrike" kern="1200" cap="none" spc="0" normalizeH="0" baseline="0" noProof="1">
              <a:ln>
                <a:noFill/>
              </a:ln>
              <a:solidFill>
                <a:srgbClr val="002B45"/>
              </a:solidFill>
              <a:effectLst/>
              <a:uLnTx/>
              <a:uFillTx/>
              <a:latin typeface="DFDS Sans"/>
              <a:ea typeface="+mn-ea"/>
              <a:cs typeface="DFDS Sans" panose="00000500000000000000" pitchFamily="2"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600" b="0" i="0" u="none" strike="noStrike" kern="1200" cap="none" spc="0" normalizeH="0" baseline="0" noProof="0">
                <a:ln>
                  <a:noFill/>
                </a:ln>
                <a:solidFill>
                  <a:srgbClr val="002B45"/>
                </a:solidFill>
                <a:effectLst/>
                <a:uLnTx/>
                <a:uFillTx/>
                <a:latin typeface="DFDS Sans"/>
                <a:ea typeface="+mn-ea"/>
                <a:cs typeface="DFDS Sans" panose="00000500000000000000" pitchFamily="2" charset="0"/>
              </a:rPr>
              <a:t>Guides</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altLang="da-DK" sz="900" b="0" i="0" u="none" strike="noStrike" kern="1200" cap="none" spc="0" normalizeH="0" baseline="0" noProof="1">
                <a:ln>
                  <a:noFill/>
                </a:ln>
                <a:solidFill>
                  <a:srgbClr val="002B45"/>
                </a:solidFill>
                <a:effectLst/>
                <a:uLnTx/>
                <a:uFillTx/>
                <a:latin typeface="DFDS Sans"/>
                <a:ea typeface="+mn-ea"/>
                <a:cs typeface="DFDS Sans" panose="00000500000000000000" pitchFamily="2" charset="0"/>
              </a:rPr>
              <a:t>Click the </a:t>
            </a:r>
            <a:r>
              <a:rPr kumimoji="0" lang="en-GB" altLang="da-DK" sz="900" b="1" i="0" u="none" strike="noStrike" kern="1200" cap="none" spc="0" normalizeH="0" baseline="0" noProof="1">
                <a:ln>
                  <a:noFill/>
                </a:ln>
                <a:solidFill>
                  <a:srgbClr val="002B45"/>
                </a:solidFill>
                <a:effectLst/>
                <a:uLnTx/>
                <a:uFillTx/>
                <a:latin typeface="DFDS Sans"/>
                <a:ea typeface="+mn-ea"/>
                <a:cs typeface="DFDS Sans" panose="00000500000000000000" pitchFamily="2" charset="0"/>
              </a:rPr>
              <a:t>View</a:t>
            </a:r>
            <a:r>
              <a:rPr kumimoji="0" lang="en-GB" altLang="da-DK" sz="900" b="0" i="0" u="none" strike="noStrike" kern="1200" cap="none" spc="0" normalizeH="0" baseline="0" noProof="1">
                <a:ln>
                  <a:noFill/>
                </a:ln>
                <a:solidFill>
                  <a:srgbClr val="002B45"/>
                </a:solidFill>
                <a:effectLst/>
                <a:uLnTx/>
                <a:uFillTx/>
                <a:latin typeface="DFDS Sans"/>
                <a:ea typeface="+mn-ea"/>
                <a:cs typeface="DFDS Sans" panose="00000500000000000000" pitchFamily="2" charset="0"/>
              </a:rPr>
              <a:t> tab and set tick mark next to </a:t>
            </a:r>
            <a:r>
              <a:rPr kumimoji="0" lang="en-GB" altLang="da-DK" sz="900" b="1" i="0" u="none" strike="noStrike" kern="1200" cap="none" spc="0" normalizeH="0" baseline="0" noProof="1">
                <a:ln>
                  <a:noFill/>
                </a:ln>
                <a:solidFill>
                  <a:srgbClr val="002B45"/>
                </a:solidFill>
                <a:effectLst/>
                <a:uLnTx/>
                <a:uFillTx/>
                <a:latin typeface="DFDS Sans"/>
                <a:ea typeface="+mn-ea"/>
                <a:cs typeface="DFDS Sans" panose="00000500000000000000" pitchFamily="2" charset="0"/>
              </a:rPr>
              <a:t>Guides</a:t>
            </a:r>
            <a:endParaRPr kumimoji="0" lang="en-GB" altLang="da-DK" sz="900" b="0" i="0" u="none" strike="noStrike" kern="1200" cap="none" spc="0" normalizeH="0" baseline="0" noProof="1">
              <a:ln>
                <a:noFill/>
              </a:ln>
              <a:solidFill>
                <a:srgbClr val="002B45"/>
              </a:solidFill>
              <a:effectLst/>
              <a:uLnTx/>
              <a:uFillTx/>
              <a:latin typeface="DFDS Sans"/>
              <a:ea typeface="+mn-ea"/>
              <a:cs typeface="DFDS Sans" panose="00000500000000000000" pitchFamily="2"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altLang="da-DK" sz="900" b="1" i="0" u="none" strike="noStrike" kern="1200" cap="none" spc="0" normalizeH="0" baseline="0" noProof="1">
                <a:ln>
                  <a:noFill/>
                </a:ln>
                <a:solidFill>
                  <a:srgbClr val="002B45"/>
                </a:solidFill>
                <a:effectLst/>
                <a:uLnTx/>
                <a:uFillTx/>
                <a:latin typeface="DFDS Sans"/>
                <a:ea typeface="+mn-ea"/>
                <a:cs typeface="DFDS Sans" panose="00000500000000000000" pitchFamily="2" charset="0"/>
              </a:rPr>
              <a:t>HINT: Alt + F9 </a:t>
            </a:r>
            <a:r>
              <a:rPr kumimoji="0" lang="en-GB" altLang="da-DK" sz="900" b="0" i="0" u="none" strike="noStrike" kern="1200" cap="none" spc="0" normalizeH="0" baseline="0" noProof="1">
                <a:ln>
                  <a:noFill/>
                </a:ln>
                <a:solidFill>
                  <a:srgbClr val="002B45"/>
                </a:solidFill>
                <a:effectLst/>
                <a:uLnTx/>
                <a:uFillTx/>
                <a:latin typeface="DFDS Sans"/>
                <a:ea typeface="+mn-ea"/>
                <a:cs typeface="DFDS Sans" panose="00000500000000000000" pitchFamily="2" charset="0"/>
              </a:rPr>
              <a:t>for quick view of guides</a:t>
            </a:r>
            <a:br>
              <a:rPr kumimoji="0" lang="en-GB" altLang="da-DK" sz="900" b="0" i="0" u="none" strike="noStrike" kern="1200" cap="none" spc="0" normalizeH="0" baseline="0" noProof="1">
                <a:ln>
                  <a:noFill/>
                </a:ln>
                <a:solidFill>
                  <a:srgbClr val="002B45"/>
                </a:solidFill>
                <a:effectLst/>
                <a:uLnTx/>
                <a:uFillTx/>
                <a:latin typeface="DFDS Sans"/>
                <a:ea typeface="+mn-ea"/>
                <a:cs typeface="DFDS Sans" panose="00000500000000000000" pitchFamily="2" charset="0"/>
              </a:rPr>
            </a:br>
            <a:r>
              <a:rPr kumimoji="0" lang="en-GB" altLang="da-DK" sz="900" b="1" i="0" u="none" strike="noStrike" kern="1200" cap="none" spc="0" normalizeH="0" baseline="0" noProof="1">
                <a:ln>
                  <a:noFill/>
                </a:ln>
                <a:solidFill>
                  <a:srgbClr val="002B45"/>
                </a:solidFill>
                <a:effectLst/>
                <a:uLnTx/>
                <a:uFillTx/>
                <a:latin typeface="DFDS Sans"/>
                <a:ea typeface="+mn-ea"/>
                <a:cs typeface="DFDS Sans" panose="00000500000000000000" pitchFamily="2" charset="0"/>
              </a:rPr>
              <a:t>Mac: </a:t>
            </a:r>
            <a:r>
              <a:rPr kumimoji="0" lang="en-GB" sz="900" b="0" i="0" u="none" strike="noStrike" kern="1200" cap="none" spc="0" normalizeH="0" baseline="0" noProof="0">
                <a:ln>
                  <a:noFill/>
                </a:ln>
                <a:solidFill>
                  <a:srgbClr val="002B45"/>
                </a:solidFill>
                <a:effectLst/>
                <a:uLnTx/>
                <a:uFillTx/>
                <a:latin typeface="DFDS Sans"/>
                <a:ea typeface="+mn-ea"/>
                <a:cs typeface="+mn-cs"/>
              </a:rPr>
              <a:t>⌘ </a:t>
            </a:r>
            <a:r>
              <a:rPr kumimoji="0" lang="en-GB" altLang="da-DK" sz="900" b="0" i="0" u="none" strike="noStrike" kern="1200" cap="none" spc="0" normalizeH="0" baseline="0" noProof="1">
                <a:ln>
                  <a:noFill/>
                </a:ln>
                <a:solidFill>
                  <a:srgbClr val="002B45"/>
                </a:solidFill>
                <a:effectLst/>
                <a:uLnTx/>
                <a:uFillTx/>
                <a:latin typeface="DFDS Sans"/>
                <a:ea typeface="+mn-ea"/>
                <a:cs typeface="DFDS Sans" panose="00000500000000000000" pitchFamily="2" charset="0"/>
              </a:rPr>
              <a:t>+ option + ctrl + G</a:t>
            </a:r>
            <a:br>
              <a:rPr kumimoji="0" lang="en-GB" altLang="da-DK" sz="900" b="0" i="0" u="none" strike="noStrike" kern="1200" cap="none" spc="0" normalizeH="0" baseline="0" noProof="1">
                <a:ln>
                  <a:noFill/>
                </a:ln>
                <a:solidFill>
                  <a:srgbClr val="002B45"/>
                </a:solidFill>
                <a:effectLst/>
                <a:uLnTx/>
                <a:uFillTx/>
                <a:latin typeface="DFDS Sans"/>
                <a:ea typeface="+mn-ea"/>
                <a:cs typeface="DFDS Sans" panose="00000500000000000000" pitchFamily="2" charset="0"/>
              </a:rPr>
            </a:br>
            <a:endParaRPr kumimoji="0" lang="en-GB" altLang="da-DK" sz="900" b="0" i="0" u="none" strike="noStrike" kern="1200" cap="none" spc="0" normalizeH="0" baseline="0" noProof="1">
              <a:ln>
                <a:noFill/>
              </a:ln>
              <a:solidFill>
                <a:srgbClr val="002B45"/>
              </a:solidFill>
              <a:effectLst/>
              <a:uLnTx/>
              <a:uFillTx/>
              <a:latin typeface="DFDS Sans"/>
              <a:ea typeface="+mn-ea"/>
              <a:cs typeface="DFDS Sans" panose="00000500000000000000" pitchFamily="2"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altLang="da-DK" sz="1600" b="0" i="0" u="none" strike="noStrike" kern="1200" cap="none" spc="0" normalizeH="0" baseline="0" noProof="1">
                <a:ln>
                  <a:noFill/>
                </a:ln>
                <a:solidFill>
                  <a:srgbClr val="002B45"/>
                </a:solidFill>
                <a:effectLst/>
                <a:uLnTx/>
                <a:uFillTx/>
                <a:latin typeface="DFDS Sans"/>
                <a:ea typeface="+mn-ea"/>
                <a:cs typeface="DFDS Sans" panose="00000500000000000000" pitchFamily="2" charset="0"/>
              </a:rPr>
              <a:t>Copy/Paste Content</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altLang="da-DK" sz="900" b="0" i="0" u="none" strike="noStrike" kern="1200" cap="none" spc="0" normalizeH="0" baseline="0" noProof="1">
                <a:ln>
                  <a:noFill/>
                </a:ln>
                <a:solidFill>
                  <a:srgbClr val="002B45"/>
                </a:solidFill>
                <a:effectLst/>
                <a:uLnTx/>
                <a:uFillTx/>
                <a:latin typeface="DFDS Sans"/>
                <a:ea typeface="+mn-ea"/>
                <a:cs typeface="DFDS Sans" panose="00000500000000000000" pitchFamily="2" charset="0"/>
              </a:rPr>
              <a:t>When copying old content to your new presentation, 2 options are available:</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altLang="da-DK" sz="900" b="1" i="0" u="none" strike="noStrike" kern="1200" cap="none" spc="0" normalizeH="0" baseline="0" noProof="1">
                <a:ln>
                  <a:noFill/>
                </a:ln>
                <a:solidFill>
                  <a:srgbClr val="002B45"/>
                </a:solidFill>
                <a:effectLst/>
                <a:uLnTx/>
                <a:uFillTx/>
                <a:latin typeface="DFDS Sans"/>
                <a:ea typeface="+mn-ea"/>
                <a:cs typeface="DFDS Sans" panose="00000500000000000000" pitchFamily="2" charset="0"/>
              </a:rPr>
              <a:t>1. Best Practice: </a:t>
            </a:r>
            <a:r>
              <a:rPr kumimoji="0" lang="en-GB" altLang="da-DK" sz="900" b="0" i="0" u="none" strike="noStrike" kern="1200" cap="none" spc="0" normalizeH="0" baseline="0" noProof="1">
                <a:ln>
                  <a:noFill/>
                </a:ln>
                <a:solidFill>
                  <a:srgbClr val="002B45"/>
                </a:solidFill>
                <a:effectLst/>
                <a:uLnTx/>
                <a:uFillTx/>
                <a:latin typeface="DFDS Sans"/>
                <a:ea typeface="+mn-ea"/>
                <a:cs typeface="DFDS Sans" panose="00000500000000000000" pitchFamily="2" charset="0"/>
              </a:rPr>
              <a:t>Create a slide in your new presentation and copy </a:t>
            </a:r>
            <a:r>
              <a:rPr kumimoji="0" lang="en-GB" altLang="da-DK" sz="900" b="0" i="0" u="sng" strike="noStrike" kern="1200" cap="none" spc="0" normalizeH="0" baseline="0" noProof="1">
                <a:ln>
                  <a:noFill/>
                </a:ln>
                <a:solidFill>
                  <a:srgbClr val="002B45"/>
                </a:solidFill>
                <a:effectLst/>
                <a:uLnTx/>
                <a:uFillTx/>
                <a:latin typeface="DFDS Sans"/>
                <a:ea typeface="+mn-ea"/>
                <a:cs typeface="DFDS Sans" panose="00000500000000000000" pitchFamily="2" charset="0"/>
              </a:rPr>
              <a:t>one</a:t>
            </a:r>
            <a:r>
              <a:rPr kumimoji="0" lang="en-GB" altLang="da-DK" sz="900" b="0" i="0" u="none" strike="noStrike" kern="1200" cap="none" spc="0" normalizeH="0" baseline="0" noProof="1">
                <a:ln>
                  <a:noFill/>
                </a:ln>
                <a:solidFill>
                  <a:srgbClr val="002B45"/>
                </a:solidFill>
                <a:effectLst/>
                <a:uLnTx/>
                <a:uFillTx/>
                <a:latin typeface="DFDS Sans"/>
                <a:ea typeface="+mn-ea"/>
                <a:cs typeface="DFDS Sans" panose="00000500000000000000" pitchFamily="2" charset="0"/>
              </a:rPr>
              <a:t> piece of content at a time (e.g. copy all text from </a:t>
            </a:r>
            <a:r>
              <a:rPr kumimoji="0" lang="en-GB" altLang="da-DK" sz="900" b="0" i="0" u="sng" strike="noStrike" kern="1200" cap="none" spc="0" normalizeH="0" baseline="0" noProof="1">
                <a:ln>
                  <a:noFill/>
                </a:ln>
                <a:solidFill>
                  <a:srgbClr val="002B45"/>
                </a:solidFill>
                <a:effectLst/>
                <a:uLnTx/>
                <a:uFillTx/>
                <a:latin typeface="DFDS Sans"/>
                <a:ea typeface="+mn-ea"/>
                <a:cs typeface="DFDS Sans" panose="00000500000000000000" pitchFamily="2" charset="0"/>
              </a:rPr>
              <a:t>one</a:t>
            </a:r>
            <a:r>
              <a:rPr kumimoji="0" lang="en-GB" altLang="da-DK" sz="900" b="0" i="0" u="none" strike="noStrike" kern="1200" cap="none" spc="0" normalizeH="0" baseline="0" noProof="1">
                <a:ln>
                  <a:noFill/>
                </a:ln>
                <a:solidFill>
                  <a:srgbClr val="002B45"/>
                </a:solidFill>
                <a:effectLst/>
                <a:uLnTx/>
                <a:uFillTx/>
                <a:latin typeface="DFDS Sans"/>
                <a:ea typeface="+mn-ea"/>
                <a:cs typeface="DFDS Sans" panose="00000500000000000000" pitchFamily="2" charset="0"/>
              </a:rPr>
              <a:t> textbox)</a:t>
            </a:r>
            <a:endParaRPr kumimoji="0" lang="en-GB" altLang="da-DK" sz="900" b="1" i="0" u="sng" strike="noStrike" kern="1200" cap="none" spc="0" normalizeH="0" baseline="0" noProof="1">
              <a:ln>
                <a:noFill/>
              </a:ln>
              <a:solidFill>
                <a:srgbClr val="002B45"/>
              </a:solidFill>
              <a:effectLst/>
              <a:uLnTx/>
              <a:uFillTx/>
              <a:latin typeface="DFDS Sans"/>
              <a:ea typeface="+mn-ea"/>
              <a:cs typeface="DFDS Sans" panose="00000500000000000000" pitchFamily="2"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altLang="da-DK" sz="900" b="1" i="0" u="none" strike="noStrike" kern="1200" cap="none" spc="0" normalizeH="0" baseline="0" noProof="1">
                <a:ln>
                  <a:noFill/>
                </a:ln>
                <a:solidFill>
                  <a:srgbClr val="002B45"/>
                </a:solidFill>
                <a:effectLst/>
                <a:uLnTx/>
                <a:uFillTx/>
                <a:latin typeface="DFDS Sans"/>
                <a:ea typeface="+mn-ea"/>
                <a:cs typeface="DFDS Sans" panose="00000500000000000000" pitchFamily="2" charset="0"/>
              </a:rPr>
              <a:t>2. </a:t>
            </a:r>
            <a:r>
              <a:rPr kumimoji="0" lang="en-GB" altLang="da-DK" sz="900" b="0" i="0" u="none" strike="noStrike" kern="1200" cap="none" spc="0" normalizeH="0" baseline="0" noProof="1">
                <a:ln>
                  <a:noFill/>
                </a:ln>
                <a:solidFill>
                  <a:srgbClr val="002B45"/>
                </a:solidFill>
                <a:effectLst/>
                <a:uLnTx/>
                <a:uFillTx/>
                <a:latin typeface="DFDS Sans"/>
                <a:ea typeface="+mn-ea"/>
                <a:cs typeface="DFDS Sans" panose="00000500000000000000" pitchFamily="2" charset="0"/>
              </a:rPr>
              <a:t>Or copy an entire slide into your new presentation and then choose a fitting layout. When presentation is done, open an empty presentation (press Ctrl+N). Copy all slides from presentation, paste them into empty one. This will ensure that there are no extra layouts</a:t>
            </a:r>
            <a:endParaRPr kumimoji="0" lang="en-GB" altLang="da-DK" sz="900" b="1" i="0" u="none" strike="noStrike" kern="1200" cap="none" spc="0" normalizeH="0" baseline="0" noProof="1">
              <a:ln>
                <a:noFill/>
              </a:ln>
              <a:solidFill>
                <a:srgbClr val="002B45"/>
              </a:solidFill>
              <a:effectLst/>
              <a:uLnTx/>
              <a:uFillTx/>
              <a:latin typeface="DFDS Sans"/>
              <a:ea typeface="+mn-ea"/>
              <a:cs typeface="DFDS Sans" panose="00000500000000000000" pitchFamily="2" charset="0"/>
            </a:endParaRPr>
          </a:p>
        </p:txBody>
      </p:sp>
      <p:pic>
        <p:nvPicPr>
          <p:cNvPr id="16" name="Picture 15">
            <a:extLst>
              <a:ext uri="{FF2B5EF4-FFF2-40B4-BE49-F238E27FC236}">
                <a16:creationId xmlns:a16="http://schemas.microsoft.com/office/drawing/2014/main" id="{10501896-43DD-469D-A55E-AA24E780130A}"/>
              </a:ext>
            </a:extLst>
          </p:cNvPr>
          <p:cNvPicPr>
            <a:picLocks noChangeAspect="1"/>
          </p:cNvPicPr>
          <p:nvPr userDrawn="1"/>
        </p:nvPicPr>
        <p:blipFill>
          <a:blip r:embed="rId2"/>
          <a:stretch>
            <a:fillRect/>
          </a:stretch>
        </p:blipFill>
        <p:spPr>
          <a:xfrm>
            <a:off x="3227388" y="3373932"/>
            <a:ext cx="257143" cy="285714"/>
          </a:xfrm>
          <a:prstGeom prst="rect">
            <a:avLst/>
          </a:prstGeom>
        </p:spPr>
      </p:pic>
      <p:pic>
        <p:nvPicPr>
          <p:cNvPr id="19" name="Picture 18">
            <a:extLst>
              <a:ext uri="{FF2B5EF4-FFF2-40B4-BE49-F238E27FC236}">
                <a16:creationId xmlns:a16="http://schemas.microsoft.com/office/drawing/2014/main" id="{0722642E-922E-4D3E-9481-C027E3A93CD0}"/>
              </a:ext>
            </a:extLst>
          </p:cNvPr>
          <p:cNvPicPr>
            <a:picLocks noChangeAspect="1"/>
          </p:cNvPicPr>
          <p:nvPr userDrawn="1"/>
        </p:nvPicPr>
        <p:blipFill>
          <a:blip r:embed="rId3"/>
          <a:stretch>
            <a:fillRect/>
          </a:stretch>
        </p:blipFill>
        <p:spPr>
          <a:xfrm>
            <a:off x="3227388" y="4876989"/>
            <a:ext cx="475428" cy="176762"/>
          </a:xfrm>
          <a:prstGeom prst="rect">
            <a:avLst/>
          </a:prstGeom>
        </p:spPr>
      </p:pic>
      <p:pic>
        <p:nvPicPr>
          <p:cNvPr id="22" name="Picture 21">
            <a:extLst>
              <a:ext uri="{FF2B5EF4-FFF2-40B4-BE49-F238E27FC236}">
                <a16:creationId xmlns:a16="http://schemas.microsoft.com/office/drawing/2014/main" id="{F37E3D92-3923-49A5-9D66-A01D052984C0}"/>
              </a:ext>
            </a:extLst>
          </p:cNvPr>
          <p:cNvPicPr>
            <a:picLocks noChangeAspect="1"/>
          </p:cNvPicPr>
          <p:nvPr userDrawn="1"/>
        </p:nvPicPr>
        <p:blipFill rotWithShape="1">
          <a:blip r:embed="rId4"/>
          <a:srcRect l="3901" t="45142" r="62601" b="9046"/>
          <a:stretch/>
        </p:blipFill>
        <p:spPr>
          <a:xfrm>
            <a:off x="7094594" y="3028791"/>
            <a:ext cx="341204" cy="321707"/>
          </a:xfrm>
          <a:prstGeom prst="rect">
            <a:avLst/>
          </a:prstGeom>
        </p:spPr>
      </p:pic>
      <p:pic>
        <p:nvPicPr>
          <p:cNvPr id="24" name="Picture 16">
            <a:extLst>
              <a:ext uri="{FF2B5EF4-FFF2-40B4-BE49-F238E27FC236}">
                <a16:creationId xmlns:a16="http://schemas.microsoft.com/office/drawing/2014/main" id="{EE4BD888-DAA9-4A3B-ADD9-0ACB9540A63B}"/>
              </a:ext>
            </a:extLst>
          </p:cNvPr>
          <p:cNvPicPr>
            <a:picLocks noChangeAspect="1"/>
          </p:cNvPicPr>
          <p:nvPr userDrawn="1"/>
        </p:nvPicPr>
        <p:blipFill>
          <a:blip r:embed="rId5"/>
          <a:stretch>
            <a:fillRect/>
          </a:stretch>
        </p:blipFill>
        <p:spPr>
          <a:xfrm>
            <a:off x="3227388" y="4193344"/>
            <a:ext cx="328881" cy="505501"/>
          </a:xfrm>
          <a:prstGeom prst="rect">
            <a:avLst/>
          </a:prstGeom>
        </p:spPr>
      </p:pic>
      <p:pic>
        <p:nvPicPr>
          <p:cNvPr id="26" name="Picture 20">
            <a:extLst>
              <a:ext uri="{FF2B5EF4-FFF2-40B4-BE49-F238E27FC236}">
                <a16:creationId xmlns:a16="http://schemas.microsoft.com/office/drawing/2014/main" id="{ADF46DFB-ABDB-43BA-AD93-FDEE2D7642D0}"/>
              </a:ext>
            </a:extLst>
          </p:cNvPr>
          <p:cNvPicPr>
            <a:picLocks noChangeAspect="1"/>
          </p:cNvPicPr>
          <p:nvPr userDrawn="1"/>
        </p:nvPicPr>
        <p:blipFill>
          <a:blip r:embed="rId6"/>
          <a:stretch>
            <a:fillRect/>
          </a:stretch>
        </p:blipFill>
        <p:spPr>
          <a:xfrm>
            <a:off x="7167008" y="2133006"/>
            <a:ext cx="538465" cy="172841"/>
          </a:xfrm>
          <a:prstGeom prst="rect">
            <a:avLst/>
          </a:prstGeom>
        </p:spPr>
      </p:pic>
      <p:pic>
        <p:nvPicPr>
          <p:cNvPr id="27" name="Picture 19">
            <a:extLst>
              <a:ext uri="{FF2B5EF4-FFF2-40B4-BE49-F238E27FC236}">
                <a16:creationId xmlns:a16="http://schemas.microsoft.com/office/drawing/2014/main" id="{CF6F40E1-EF2A-4675-A88E-429AD3ADD347}"/>
              </a:ext>
            </a:extLst>
          </p:cNvPr>
          <p:cNvPicPr>
            <a:picLocks noChangeAspect="1"/>
          </p:cNvPicPr>
          <p:nvPr userDrawn="1"/>
        </p:nvPicPr>
        <p:blipFill>
          <a:blip r:embed="rId7"/>
          <a:stretch>
            <a:fillRect/>
          </a:stretch>
        </p:blipFill>
        <p:spPr>
          <a:xfrm>
            <a:off x="7170738" y="3902194"/>
            <a:ext cx="313788" cy="543900"/>
          </a:xfrm>
          <a:prstGeom prst="rect">
            <a:avLst/>
          </a:prstGeom>
        </p:spPr>
      </p:pic>
      <p:pic>
        <p:nvPicPr>
          <p:cNvPr id="18" name="Picture 12">
            <a:extLst>
              <a:ext uri="{FF2B5EF4-FFF2-40B4-BE49-F238E27FC236}">
                <a16:creationId xmlns:a16="http://schemas.microsoft.com/office/drawing/2014/main" id="{1EEB59ED-856C-4646-8080-8164D2973D0E}"/>
              </a:ext>
            </a:extLst>
          </p:cNvPr>
          <p:cNvPicPr>
            <a:picLocks noChangeAspect="1"/>
          </p:cNvPicPr>
          <p:nvPr userDrawn="1"/>
        </p:nvPicPr>
        <p:blipFill>
          <a:blip r:embed="rId8"/>
          <a:stretch>
            <a:fillRect/>
          </a:stretch>
        </p:blipFill>
        <p:spPr>
          <a:xfrm>
            <a:off x="11115675" y="2138858"/>
            <a:ext cx="378293" cy="543366"/>
          </a:xfrm>
          <a:prstGeom prst="rect">
            <a:avLst/>
          </a:prstGeom>
        </p:spPr>
      </p:pic>
      <p:sp>
        <p:nvSpPr>
          <p:cNvPr id="20" name="Date Placeholder 6" hidden="1">
            <a:extLst>
              <a:ext uri="{FF2B5EF4-FFF2-40B4-BE49-F238E27FC236}">
                <a16:creationId xmlns:a16="http://schemas.microsoft.com/office/drawing/2014/main" id="{C8F77785-DAC9-4046-8A82-0AC407341173}"/>
              </a:ext>
            </a:extLst>
          </p:cNvPr>
          <p:cNvSpPr>
            <a:spLocks noGrp="1"/>
          </p:cNvSpPr>
          <p:nvPr>
            <p:ph type="dt" sz="half" idx="15"/>
          </p:nvPr>
        </p:nvSpPr>
        <p:spPr>
          <a:xfrm>
            <a:off x="0" y="6858000"/>
            <a:ext cx="0" cy="0"/>
          </a:xfrm>
          <a:prstGeom prst="rect">
            <a:avLst/>
          </a:prstGeom>
        </p:spPr>
        <p:txBody>
          <a:bodyPr/>
          <a:lstStyle>
            <a:lvl1pPr>
              <a:defRPr sz="100">
                <a:noFill/>
              </a:defRPr>
            </a:lvl1pPr>
          </a:lstStyle>
          <a:p>
            <a:fld id="{E6DC2E9B-D0B6-463D-BE74-F72922D7605F}" type="datetime4">
              <a:rPr lang="en-GB" smtClean="0"/>
              <a:t>20 February 2025</a:t>
            </a:fld>
            <a:endParaRPr lang="en-GB"/>
          </a:p>
        </p:txBody>
      </p:sp>
      <p:sp>
        <p:nvSpPr>
          <p:cNvPr id="21" name="Footer Placeholder 8" hidden="1">
            <a:extLst>
              <a:ext uri="{FF2B5EF4-FFF2-40B4-BE49-F238E27FC236}">
                <a16:creationId xmlns:a16="http://schemas.microsoft.com/office/drawing/2014/main" id="{9675D1FD-FB10-4317-AAF4-BDCB2224F107}"/>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23" name="Slide Number Placeholder 10" hidden="1">
            <a:extLst>
              <a:ext uri="{FF2B5EF4-FFF2-40B4-BE49-F238E27FC236}">
                <a16:creationId xmlns:a16="http://schemas.microsoft.com/office/drawing/2014/main" id="{BBF7E881-962B-4385-8C0A-994D3D7717F3}"/>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pic>
        <p:nvPicPr>
          <p:cNvPr id="11" name="Picture 10">
            <a:extLst>
              <a:ext uri="{FF2B5EF4-FFF2-40B4-BE49-F238E27FC236}">
                <a16:creationId xmlns:a16="http://schemas.microsoft.com/office/drawing/2014/main" id="{718B3BD4-04BC-40A0-B801-FB79B0884023}"/>
              </a:ext>
            </a:extLst>
          </p:cNvPr>
          <p:cNvPicPr>
            <a:picLocks noChangeAspect="1"/>
          </p:cNvPicPr>
          <p:nvPr userDrawn="1"/>
        </p:nvPicPr>
        <p:blipFill>
          <a:blip r:embed="rId9"/>
          <a:stretch>
            <a:fillRect/>
          </a:stretch>
        </p:blipFill>
        <p:spPr>
          <a:xfrm>
            <a:off x="3227388" y="2682224"/>
            <a:ext cx="457143" cy="257143"/>
          </a:xfrm>
          <a:prstGeom prst="rect">
            <a:avLst/>
          </a:prstGeom>
        </p:spPr>
      </p:pic>
      <p:sp>
        <p:nvSpPr>
          <p:cNvPr id="2" name="Footer logo">
            <a:extLst>
              <a:ext uri="{FF2B5EF4-FFF2-40B4-BE49-F238E27FC236}">
                <a16:creationId xmlns:a16="http://schemas.microsoft.com/office/drawing/2014/main" id="{5AFA2405-B1E3-6A5D-2DB0-6BD5383722A2}"/>
              </a:ext>
            </a:extLst>
          </p:cNvPr>
          <p:cNvSpPr>
            <a:spLocks noChangeAspect="1"/>
          </p:cNvSpPr>
          <p:nvPr userDrawn="1"/>
        </p:nvSpPr>
        <p:spPr>
          <a:xfrm>
            <a:off x="11634124" y="6504694"/>
            <a:ext cx="288000" cy="81844"/>
          </a:xfrm>
          <a:custGeom>
            <a:avLst/>
            <a:gdLst>
              <a:gd name="connsiteX0" fmla="*/ 109963 w 193596"/>
              <a:gd name="connsiteY0" fmla="*/ 11125 h 55016"/>
              <a:gd name="connsiteX1" fmla="*/ 109963 w 193596"/>
              <a:gd name="connsiteY1" fmla="*/ 43891 h 55016"/>
              <a:gd name="connsiteX2" fmla="*/ 118345 w 193596"/>
              <a:gd name="connsiteY2" fmla="*/ 43891 h 55016"/>
              <a:gd name="connsiteX3" fmla="*/ 133356 w 193596"/>
              <a:gd name="connsiteY3" fmla="*/ 27356 h 55016"/>
              <a:gd name="connsiteX4" fmla="*/ 118421 w 193596"/>
              <a:gd name="connsiteY4" fmla="*/ 11125 h 55016"/>
              <a:gd name="connsiteX5" fmla="*/ 11811 w 193596"/>
              <a:gd name="connsiteY5" fmla="*/ 11125 h 55016"/>
              <a:gd name="connsiteX6" fmla="*/ 11811 w 193596"/>
              <a:gd name="connsiteY6" fmla="*/ 43891 h 55016"/>
              <a:gd name="connsiteX7" fmla="*/ 20193 w 193596"/>
              <a:gd name="connsiteY7" fmla="*/ 43891 h 55016"/>
              <a:gd name="connsiteX8" fmla="*/ 35204 w 193596"/>
              <a:gd name="connsiteY8" fmla="*/ 27356 h 55016"/>
              <a:gd name="connsiteX9" fmla="*/ 20269 w 193596"/>
              <a:gd name="connsiteY9" fmla="*/ 11125 h 55016"/>
              <a:gd name="connsiteX10" fmla="*/ 98152 w 193596"/>
              <a:gd name="connsiteY10" fmla="*/ 838 h 55016"/>
              <a:gd name="connsiteX11" fmla="*/ 119564 w 193596"/>
              <a:gd name="connsiteY11" fmla="*/ 838 h 55016"/>
              <a:gd name="connsiteX12" fmla="*/ 145396 w 193596"/>
              <a:gd name="connsiteY12" fmla="*/ 27356 h 55016"/>
              <a:gd name="connsiteX13" fmla="*/ 119564 w 193596"/>
              <a:gd name="connsiteY13" fmla="*/ 54178 h 55016"/>
              <a:gd name="connsiteX14" fmla="*/ 98152 w 193596"/>
              <a:gd name="connsiteY14" fmla="*/ 54178 h 55016"/>
              <a:gd name="connsiteX15" fmla="*/ 55438 w 193596"/>
              <a:gd name="connsiteY15" fmla="*/ 838 h 55016"/>
              <a:gd name="connsiteX16" fmla="*/ 89728 w 193596"/>
              <a:gd name="connsiteY16" fmla="*/ 838 h 55016"/>
              <a:gd name="connsiteX17" fmla="*/ 89728 w 193596"/>
              <a:gd name="connsiteY17" fmla="*/ 11049 h 55016"/>
              <a:gd name="connsiteX18" fmla="*/ 67249 w 193596"/>
              <a:gd name="connsiteY18" fmla="*/ 11049 h 55016"/>
              <a:gd name="connsiteX19" fmla="*/ 67249 w 193596"/>
              <a:gd name="connsiteY19" fmla="*/ 23774 h 55016"/>
              <a:gd name="connsiteX20" fmla="*/ 89042 w 193596"/>
              <a:gd name="connsiteY20" fmla="*/ 23774 h 55016"/>
              <a:gd name="connsiteX21" fmla="*/ 89042 w 193596"/>
              <a:gd name="connsiteY21" fmla="*/ 33909 h 55016"/>
              <a:gd name="connsiteX22" fmla="*/ 67249 w 193596"/>
              <a:gd name="connsiteY22" fmla="*/ 33909 h 55016"/>
              <a:gd name="connsiteX23" fmla="*/ 67249 w 193596"/>
              <a:gd name="connsiteY23" fmla="*/ 54178 h 55016"/>
              <a:gd name="connsiteX24" fmla="*/ 55438 w 193596"/>
              <a:gd name="connsiteY24" fmla="*/ 54178 h 55016"/>
              <a:gd name="connsiteX25" fmla="*/ 0 w 193596"/>
              <a:gd name="connsiteY25" fmla="*/ 838 h 55016"/>
              <a:gd name="connsiteX26" fmla="*/ 21412 w 193596"/>
              <a:gd name="connsiteY26" fmla="*/ 838 h 55016"/>
              <a:gd name="connsiteX27" fmla="*/ 47244 w 193596"/>
              <a:gd name="connsiteY27" fmla="*/ 27356 h 55016"/>
              <a:gd name="connsiteX28" fmla="*/ 21412 w 193596"/>
              <a:gd name="connsiteY28" fmla="*/ 54178 h 55016"/>
              <a:gd name="connsiteX29" fmla="*/ 0 w 193596"/>
              <a:gd name="connsiteY29" fmla="*/ 54178 h 55016"/>
              <a:gd name="connsiteX30" fmla="*/ 172031 w 193596"/>
              <a:gd name="connsiteY30" fmla="*/ 0 h 55016"/>
              <a:gd name="connsiteX31" fmla="*/ 192605 w 193596"/>
              <a:gd name="connsiteY31" fmla="*/ 16459 h 55016"/>
              <a:gd name="connsiteX32" fmla="*/ 180642 w 193596"/>
              <a:gd name="connsiteY32" fmla="*/ 16459 h 55016"/>
              <a:gd name="connsiteX33" fmla="*/ 172031 w 193596"/>
              <a:gd name="connsiteY33" fmla="*/ 9982 h 55016"/>
              <a:gd name="connsiteX34" fmla="*/ 163725 w 193596"/>
              <a:gd name="connsiteY34" fmla="*/ 15545 h 55016"/>
              <a:gd name="connsiteX35" fmla="*/ 170202 w 193596"/>
              <a:gd name="connsiteY35" fmla="*/ 20803 h 55016"/>
              <a:gd name="connsiteX36" fmla="*/ 178127 w 193596"/>
              <a:gd name="connsiteY36" fmla="*/ 22327 h 55016"/>
              <a:gd name="connsiteX37" fmla="*/ 193596 w 193596"/>
              <a:gd name="connsiteY37" fmla="*/ 38176 h 55016"/>
              <a:gd name="connsiteX38" fmla="*/ 172793 w 193596"/>
              <a:gd name="connsiteY38" fmla="*/ 55016 h 55016"/>
              <a:gd name="connsiteX39" fmla="*/ 151000 w 193596"/>
              <a:gd name="connsiteY39" fmla="*/ 37871 h 55016"/>
              <a:gd name="connsiteX40" fmla="*/ 162963 w 193596"/>
              <a:gd name="connsiteY40" fmla="*/ 37871 h 55016"/>
              <a:gd name="connsiteX41" fmla="*/ 172717 w 193596"/>
              <a:gd name="connsiteY41" fmla="*/ 45034 h 55016"/>
              <a:gd name="connsiteX42" fmla="*/ 181632 w 193596"/>
              <a:gd name="connsiteY42" fmla="*/ 38862 h 55016"/>
              <a:gd name="connsiteX43" fmla="*/ 174774 w 193596"/>
              <a:gd name="connsiteY43" fmla="*/ 32918 h 55016"/>
              <a:gd name="connsiteX44" fmla="*/ 167078 w 193596"/>
              <a:gd name="connsiteY44" fmla="*/ 31471 h 55016"/>
              <a:gd name="connsiteX45" fmla="*/ 151686 w 193596"/>
              <a:gd name="connsiteY45" fmla="*/ 16078 h 55016"/>
              <a:gd name="connsiteX46" fmla="*/ 172031 w 193596"/>
              <a:gd name="connsiteY46" fmla="*/ 0 h 55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3596" h="55016">
                <a:moveTo>
                  <a:pt x="109963" y="11125"/>
                </a:moveTo>
                <a:lnTo>
                  <a:pt x="109963" y="43891"/>
                </a:lnTo>
                <a:lnTo>
                  <a:pt x="118345" y="43891"/>
                </a:lnTo>
                <a:cubicBezTo>
                  <a:pt x="126498" y="43891"/>
                  <a:pt x="133356" y="38786"/>
                  <a:pt x="133356" y="27356"/>
                </a:cubicBezTo>
                <a:cubicBezTo>
                  <a:pt x="133356" y="16611"/>
                  <a:pt x="127032" y="11125"/>
                  <a:pt x="118421" y="11125"/>
                </a:cubicBezTo>
                <a:close/>
                <a:moveTo>
                  <a:pt x="11811" y="11125"/>
                </a:moveTo>
                <a:lnTo>
                  <a:pt x="11811" y="43891"/>
                </a:lnTo>
                <a:lnTo>
                  <a:pt x="20193" y="43891"/>
                </a:lnTo>
                <a:cubicBezTo>
                  <a:pt x="28346" y="43891"/>
                  <a:pt x="35204" y="38786"/>
                  <a:pt x="35204" y="27356"/>
                </a:cubicBezTo>
                <a:cubicBezTo>
                  <a:pt x="35204" y="16611"/>
                  <a:pt x="28880" y="11125"/>
                  <a:pt x="20269" y="11125"/>
                </a:cubicBezTo>
                <a:close/>
                <a:moveTo>
                  <a:pt x="98152" y="838"/>
                </a:moveTo>
                <a:lnTo>
                  <a:pt x="119564" y="838"/>
                </a:lnTo>
                <a:cubicBezTo>
                  <a:pt x="135338" y="838"/>
                  <a:pt x="145396" y="11582"/>
                  <a:pt x="145396" y="27356"/>
                </a:cubicBezTo>
                <a:cubicBezTo>
                  <a:pt x="145396" y="43434"/>
                  <a:pt x="135338" y="54178"/>
                  <a:pt x="119564" y="54178"/>
                </a:cubicBezTo>
                <a:lnTo>
                  <a:pt x="98152" y="54178"/>
                </a:lnTo>
                <a:close/>
                <a:moveTo>
                  <a:pt x="55438" y="838"/>
                </a:moveTo>
                <a:lnTo>
                  <a:pt x="89728" y="838"/>
                </a:lnTo>
                <a:lnTo>
                  <a:pt x="89728" y="11049"/>
                </a:lnTo>
                <a:lnTo>
                  <a:pt x="67249" y="11049"/>
                </a:lnTo>
                <a:lnTo>
                  <a:pt x="67249" y="23774"/>
                </a:lnTo>
                <a:lnTo>
                  <a:pt x="89042" y="23774"/>
                </a:lnTo>
                <a:lnTo>
                  <a:pt x="89042" y="33909"/>
                </a:lnTo>
                <a:lnTo>
                  <a:pt x="67249" y="33909"/>
                </a:lnTo>
                <a:lnTo>
                  <a:pt x="67249" y="54178"/>
                </a:lnTo>
                <a:lnTo>
                  <a:pt x="55438" y="54178"/>
                </a:lnTo>
                <a:close/>
                <a:moveTo>
                  <a:pt x="0" y="838"/>
                </a:moveTo>
                <a:lnTo>
                  <a:pt x="21412" y="838"/>
                </a:lnTo>
                <a:cubicBezTo>
                  <a:pt x="37186" y="838"/>
                  <a:pt x="47244" y="11582"/>
                  <a:pt x="47244" y="27356"/>
                </a:cubicBezTo>
                <a:cubicBezTo>
                  <a:pt x="47244" y="43434"/>
                  <a:pt x="37186" y="54178"/>
                  <a:pt x="21412" y="54178"/>
                </a:cubicBezTo>
                <a:lnTo>
                  <a:pt x="0" y="54178"/>
                </a:lnTo>
                <a:close/>
                <a:moveTo>
                  <a:pt x="172031" y="0"/>
                </a:moveTo>
                <a:cubicBezTo>
                  <a:pt x="183614" y="0"/>
                  <a:pt x="191538" y="6629"/>
                  <a:pt x="192605" y="16459"/>
                </a:cubicBezTo>
                <a:lnTo>
                  <a:pt x="180642" y="16459"/>
                </a:lnTo>
                <a:cubicBezTo>
                  <a:pt x="179727" y="12421"/>
                  <a:pt x="177213" y="9982"/>
                  <a:pt x="172031" y="9982"/>
                </a:cubicBezTo>
                <a:cubicBezTo>
                  <a:pt x="167764" y="9982"/>
                  <a:pt x="163725" y="11659"/>
                  <a:pt x="163725" y="15545"/>
                </a:cubicBezTo>
                <a:cubicBezTo>
                  <a:pt x="163725" y="18517"/>
                  <a:pt x="166164" y="19964"/>
                  <a:pt x="170202" y="20803"/>
                </a:cubicBezTo>
                <a:lnTo>
                  <a:pt x="178127" y="22327"/>
                </a:lnTo>
                <a:cubicBezTo>
                  <a:pt x="187805" y="24155"/>
                  <a:pt x="193596" y="29489"/>
                  <a:pt x="193596" y="38176"/>
                </a:cubicBezTo>
                <a:cubicBezTo>
                  <a:pt x="193596" y="49454"/>
                  <a:pt x="183842" y="55016"/>
                  <a:pt x="172793" y="55016"/>
                </a:cubicBezTo>
                <a:cubicBezTo>
                  <a:pt x="159839" y="55016"/>
                  <a:pt x="152219" y="47701"/>
                  <a:pt x="151000" y="37871"/>
                </a:cubicBezTo>
                <a:lnTo>
                  <a:pt x="162963" y="37871"/>
                </a:lnTo>
                <a:cubicBezTo>
                  <a:pt x="163649" y="42367"/>
                  <a:pt x="167383" y="45034"/>
                  <a:pt x="172717" y="45034"/>
                </a:cubicBezTo>
                <a:cubicBezTo>
                  <a:pt x="177365" y="45034"/>
                  <a:pt x="181632" y="43053"/>
                  <a:pt x="181632" y="38862"/>
                </a:cubicBezTo>
                <a:cubicBezTo>
                  <a:pt x="181632" y="35738"/>
                  <a:pt x="179194" y="33757"/>
                  <a:pt x="174774" y="32918"/>
                </a:cubicBezTo>
                <a:lnTo>
                  <a:pt x="167078" y="31471"/>
                </a:lnTo>
                <a:cubicBezTo>
                  <a:pt x="158010" y="29947"/>
                  <a:pt x="151686" y="24841"/>
                  <a:pt x="151686" y="16078"/>
                </a:cubicBezTo>
                <a:cubicBezTo>
                  <a:pt x="151686" y="5105"/>
                  <a:pt x="161820" y="0"/>
                  <a:pt x="172031" y="0"/>
                </a:cubicBezTo>
                <a:close/>
              </a:path>
            </a:pathLst>
          </a:custGeom>
          <a:solidFill>
            <a:srgbClr val="002B45"/>
          </a:solidFill>
          <a:ln w="9525" cap="flat">
            <a:noFill/>
            <a:prstDash val="solid"/>
            <a:miter/>
          </a:ln>
        </p:spPr>
        <p:txBody>
          <a:bodyPr rtlCol="0" anchor="ctr"/>
          <a:lstStyle/>
          <a:p>
            <a:endParaRPr lang="en-GB"/>
          </a:p>
        </p:txBody>
      </p:sp>
    </p:spTree>
    <p:extLst>
      <p:ext uri="{BB962C8B-B14F-4D97-AF65-F5344CB8AC3E}">
        <p14:creationId xmlns:p14="http://schemas.microsoft.com/office/powerpoint/2010/main" val="227704085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olor guide">
    <p:spTree>
      <p:nvGrpSpPr>
        <p:cNvPr id="1" name=""/>
        <p:cNvGrpSpPr/>
        <p:nvPr/>
      </p:nvGrpSpPr>
      <p:grpSpPr>
        <a:xfrm>
          <a:off x="0" y="0"/>
          <a:ext cx="0" cy="0"/>
          <a:chOff x="0" y="0"/>
          <a:chExt cx="0" cy="0"/>
        </a:xfrm>
      </p:grpSpPr>
      <p:sp>
        <p:nvSpPr>
          <p:cNvPr id="9" name="Fast overskrift"/>
          <p:cNvSpPr txBox="1"/>
          <p:nvPr userDrawn="1"/>
        </p:nvSpPr>
        <p:spPr>
          <a:xfrm>
            <a:off x="269876" y="269875"/>
            <a:ext cx="11379198" cy="829009"/>
          </a:xfrm>
          <a:prstGeom prst="rect">
            <a:avLst/>
          </a:prstGeom>
          <a:noFill/>
        </p:spPr>
        <p:txBody>
          <a:bodyPr wrap="square" lIns="0" tIns="0" rIns="0" bIns="0" rtlCol="0" anchor="t" anchorCtr="0">
            <a:noAutofit/>
          </a:bodyPr>
          <a:lstStyle/>
          <a:p>
            <a:r>
              <a:rPr lang="en-US" sz="3200" b="0" noProof="1">
                <a:solidFill>
                  <a:schemeClr val="tx2"/>
                </a:solidFill>
                <a:latin typeface="+mj-lt"/>
                <a:cs typeface="DFDS Sans" panose="00000500000000000000" pitchFamily="2" charset="0"/>
              </a:rPr>
              <a:t>Good to Know – Our Primary and Secondary Colours:</a:t>
            </a:r>
            <a:endParaRPr lang="en-GB" sz="3200" b="0" noProof="1">
              <a:solidFill>
                <a:schemeClr val="tx2"/>
              </a:solidFill>
              <a:latin typeface="+mj-lt"/>
              <a:cs typeface="DFDS Sans" panose="00000500000000000000" pitchFamily="2" charset="0"/>
            </a:endParaRPr>
          </a:p>
        </p:txBody>
      </p:sp>
      <p:sp>
        <p:nvSpPr>
          <p:cNvPr id="13" name="Text Box 2">
            <a:extLst>
              <a:ext uri="{FF2B5EF4-FFF2-40B4-BE49-F238E27FC236}">
                <a16:creationId xmlns:a16="http://schemas.microsoft.com/office/drawing/2014/main" id="{0BB3B459-CDFE-44C8-879C-511BDE5A64B2}"/>
              </a:ext>
            </a:extLst>
          </p:cNvPr>
          <p:cNvSpPr txBox="1">
            <a:spLocks noChangeArrowheads="1"/>
          </p:cNvSpPr>
          <p:nvPr userDrawn="1"/>
        </p:nvSpPr>
        <p:spPr bwMode="auto">
          <a:xfrm>
            <a:off x="269876" y="3591709"/>
            <a:ext cx="2957512" cy="1677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DFDS Sans" charset="0"/>
              </a:defRPr>
            </a:lvl1pPr>
            <a:lvl2pPr marL="742950" indent="-285750" eaLnBrk="0" hangingPunct="0">
              <a:defRPr>
                <a:solidFill>
                  <a:schemeClr val="tx1"/>
                </a:solidFill>
                <a:latin typeface="DFDS Sans" charset="0"/>
              </a:defRPr>
            </a:lvl2pPr>
            <a:lvl3pPr marL="1143000" indent="-228600" eaLnBrk="0" hangingPunct="0">
              <a:defRPr>
                <a:solidFill>
                  <a:schemeClr val="tx1"/>
                </a:solidFill>
                <a:latin typeface="DFDS Sans" charset="0"/>
              </a:defRPr>
            </a:lvl3pPr>
            <a:lvl4pPr marL="1600200" indent="-228600" eaLnBrk="0" hangingPunct="0">
              <a:defRPr>
                <a:solidFill>
                  <a:schemeClr val="tx1"/>
                </a:solidFill>
                <a:latin typeface="DFDS Sans" charset="0"/>
              </a:defRPr>
            </a:lvl4pPr>
            <a:lvl5pPr marL="2057400" indent="-228600" eaLnBrk="0" hangingPunct="0">
              <a:defRPr>
                <a:solidFill>
                  <a:schemeClr val="tx1"/>
                </a:solidFill>
                <a:latin typeface="DFDS Sans" charset="0"/>
              </a:defRPr>
            </a:lvl5pPr>
            <a:lvl6pPr marL="2514600" indent="-228600" eaLnBrk="0" fontAlgn="base" hangingPunct="0">
              <a:spcBef>
                <a:spcPct val="0"/>
              </a:spcBef>
              <a:spcAft>
                <a:spcPct val="0"/>
              </a:spcAft>
              <a:defRPr>
                <a:solidFill>
                  <a:schemeClr val="tx1"/>
                </a:solidFill>
                <a:latin typeface="DFDS Sans" charset="0"/>
              </a:defRPr>
            </a:lvl6pPr>
            <a:lvl7pPr marL="2971800" indent="-228600" eaLnBrk="0" fontAlgn="base" hangingPunct="0">
              <a:spcBef>
                <a:spcPct val="0"/>
              </a:spcBef>
              <a:spcAft>
                <a:spcPct val="0"/>
              </a:spcAft>
              <a:defRPr>
                <a:solidFill>
                  <a:schemeClr val="tx1"/>
                </a:solidFill>
                <a:latin typeface="DFDS Sans" charset="0"/>
              </a:defRPr>
            </a:lvl7pPr>
            <a:lvl8pPr marL="3429000" indent="-228600" eaLnBrk="0" fontAlgn="base" hangingPunct="0">
              <a:spcBef>
                <a:spcPct val="0"/>
              </a:spcBef>
              <a:spcAft>
                <a:spcPct val="0"/>
              </a:spcAft>
              <a:defRPr>
                <a:solidFill>
                  <a:schemeClr val="tx1"/>
                </a:solidFill>
                <a:latin typeface="DFDS Sans" charset="0"/>
              </a:defRPr>
            </a:lvl8pPr>
            <a:lvl9pPr marL="3886200" indent="-228600" eaLnBrk="0" fontAlgn="base" hangingPunct="0">
              <a:spcBef>
                <a:spcPct val="0"/>
              </a:spcBef>
              <a:spcAft>
                <a:spcPct val="0"/>
              </a:spcAft>
              <a:defRPr>
                <a:solidFill>
                  <a:schemeClr val="tx1"/>
                </a:solidFill>
                <a:latin typeface="DFDS Sans"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900" b="1" i="0" u="none" strike="noStrike" kern="1200" cap="none" spc="0" normalizeH="0" baseline="0" noProof="0">
                <a:ln>
                  <a:noFill/>
                </a:ln>
                <a:solidFill>
                  <a:srgbClr val="002B45"/>
                </a:solidFill>
                <a:effectLst/>
                <a:uLnTx/>
                <a:uFillTx/>
                <a:latin typeface="DFDS Sans"/>
                <a:ea typeface="+mn-ea"/>
                <a:cs typeface="DFDS Sans" panose="00000500000000000000" pitchFamily="2" charset="0"/>
              </a:rPr>
              <a:t>Primary Colours</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002B45"/>
                </a:solidFill>
                <a:effectLst/>
                <a:uLnTx/>
                <a:uFillTx/>
                <a:latin typeface="DFDS Sans"/>
                <a:ea typeface="+mn-ea"/>
                <a:cs typeface="DFDS Sans" panose="00000500000000000000" pitchFamily="2" charset="0"/>
              </a:rPr>
              <a:t>The primary </a:t>
            </a:r>
            <a:r>
              <a:rPr kumimoji="0" lang="en-US" sz="900" b="0" i="0" u="none" strike="noStrike" kern="1200" cap="none" spc="0" normalizeH="0" baseline="0" noProof="0" err="1">
                <a:ln>
                  <a:noFill/>
                </a:ln>
                <a:solidFill>
                  <a:srgbClr val="002B45"/>
                </a:solidFill>
                <a:effectLst/>
                <a:uLnTx/>
                <a:uFillTx/>
                <a:latin typeface="DFDS Sans"/>
                <a:ea typeface="+mn-ea"/>
                <a:cs typeface="DFDS Sans" panose="00000500000000000000" pitchFamily="2" charset="0"/>
              </a:rPr>
              <a:t>colour</a:t>
            </a:r>
            <a:r>
              <a:rPr kumimoji="0" lang="en-US" sz="900" b="0" i="0" u="none" strike="noStrike" kern="1200" cap="none" spc="0" normalizeH="0" baseline="0" noProof="0">
                <a:ln>
                  <a:noFill/>
                </a:ln>
                <a:solidFill>
                  <a:srgbClr val="002B45"/>
                </a:solidFill>
                <a:effectLst/>
                <a:uLnTx/>
                <a:uFillTx/>
                <a:latin typeface="DFDS Sans"/>
                <a:ea typeface="+mn-ea"/>
                <a:cs typeface="DFDS Sans" panose="00000500000000000000" pitchFamily="2" charset="0"/>
              </a:rPr>
              <a:t> palette is a vital part of the overall visual expression in a DFDS Presentation. Using the blue and sand </a:t>
            </a:r>
            <a:r>
              <a:rPr kumimoji="0" lang="en-US" sz="900" b="0" i="0" u="none" strike="noStrike" kern="1200" cap="none" spc="0" normalizeH="0" baseline="0" noProof="0" err="1">
                <a:ln>
                  <a:noFill/>
                </a:ln>
                <a:solidFill>
                  <a:srgbClr val="002B45"/>
                </a:solidFill>
                <a:effectLst/>
                <a:uLnTx/>
                <a:uFillTx/>
                <a:latin typeface="DFDS Sans"/>
                <a:ea typeface="+mn-ea"/>
                <a:cs typeface="DFDS Sans" panose="00000500000000000000" pitchFamily="2" charset="0"/>
              </a:rPr>
              <a:t>colours</a:t>
            </a:r>
            <a:r>
              <a:rPr kumimoji="0" lang="en-US" sz="900" b="0" i="0" u="none" strike="noStrike" kern="1200" cap="none" spc="0" normalizeH="0" baseline="0" noProof="0">
                <a:ln>
                  <a:noFill/>
                </a:ln>
                <a:solidFill>
                  <a:srgbClr val="002B45"/>
                </a:solidFill>
                <a:effectLst/>
                <a:uLnTx/>
                <a:uFillTx/>
                <a:latin typeface="DFDS Sans"/>
                <a:ea typeface="+mn-ea"/>
                <a:cs typeface="DFDS Sans" panose="00000500000000000000" pitchFamily="2" charset="0"/>
              </a:rPr>
              <a:t> together with White and Deep Blue, will help you to quickly capture the right visual expression for your presentation.</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002B45"/>
                </a:solidFill>
                <a:effectLst/>
                <a:uLnTx/>
                <a:uFillTx/>
                <a:latin typeface="DFDS Sans"/>
                <a:ea typeface="+mn-ea"/>
                <a:cs typeface="DFDS Sans" panose="00000500000000000000" pitchFamily="2" charset="0"/>
              </a:rPr>
              <a:t>When creating graphs and charts the primary </a:t>
            </a:r>
            <a:r>
              <a:rPr kumimoji="0" lang="en-US" sz="900" b="0" i="0" u="none" strike="noStrike" kern="1200" cap="none" spc="0" normalizeH="0" baseline="0" noProof="0" err="1">
                <a:ln>
                  <a:noFill/>
                </a:ln>
                <a:solidFill>
                  <a:srgbClr val="002B45"/>
                </a:solidFill>
                <a:effectLst/>
                <a:uLnTx/>
                <a:uFillTx/>
                <a:latin typeface="DFDS Sans"/>
                <a:ea typeface="+mn-ea"/>
                <a:cs typeface="DFDS Sans" panose="00000500000000000000" pitchFamily="2" charset="0"/>
              </a:rPr>
              <a:t>colours</a:t>
            </a:r>
            <a:r>
              <a:rPr kumimoji="0" lang="en-US" sz="900" b="0" i="0" u="none" strike="noStrike" kern="1200" cap="none" spc="0" normalizeH="0" baseline="0" noProof="0">
                <a:ln>
                  <a:noFill/>
                </a:ln>
                <a:solidFill>
                  <a:srgbClr val="002B45"/>
                </a:solidFill>
                <a:effectLst/>
                <a:uLnTx/>
                <a:uFillTx/>
                <a:latin typeface="DFDS Sans"/>
                <a:ea typeface="+mn-ea"/>
                <a:cs typeface="DFDS Sans" panose="00000500000000000000" pitchFamily="2" charset="0"/>
              </a:rPr>
              <a:t> and tints are set as default in </a:t>
            </a:r>
            <a:r>
              <a:rPr kumimoji="0" lang="en-US" sz="900" b="0" i="0" u="none" strike="noStrike" kern="1200" cap="none" spc="0" normalizeH="0" baseline="0" noProof="0" err="1">
                <a:ln>
                  <a:noFill/>
                </a:ln>
                <a:solidFill>
                  <a:srgbClr val="002B45"/>
                </a:solidFill>
                <a:effectLst/>
                <a:uLnTx/>
                <a:uFillTx/>
                <a:latin typeface="DFDS Sans"/>
                <a:ea typeface="+mn-ea"/>
                <a:cs typeface="DFDS Sans" panose="00000500000000000000" pitchFamily="2" charset="0"/>
              </a:rPr>
              <a:t>Powerpoint</a:t>
            </a:r>
            <a:r>
              <a:rPr kumimoji="0" lang="en-US" sz="900" b="0" i="0" u="none" strike="noStrike" kern="1200" cap="none" spc="0" normalizeH="0" baseline="0" noProof="0">
                <a:ln>
                  <a:noFill/>
                </a:ln>
                <a:solidFill>
                  <a:srgbClr val="002B45"/>
                </a:solidFill>
                <a:effectLst/>
                <a:uLnTx/>
                <a:uFillTx/>
                <a:latin typeface="DFDS Sans"/>
                <a:ea typeface="+mn-ea"/>
                <a:cs typeface="DFDS Sans" panose="00000500000000000000" pitchFamily="2" charset="0"/>
              </a:rPr>
              <a:t>. Apart from that the tinted tones should not be used for anything else.</a:t>
            </a:r>
            <a:endParaRPr kumimoji="0" lang="en-GB" sz="900" b="0" i="0" u="none" strike="noStrike" kern="1200" cap="none" spc="0" normalizeH="0" baseline="0" noProof="1">
              <a:ln>
                <a:noFill/>
              </a:ln>
              <a:solidFill>
                <a:srgbClr val="002B45"/>
              </a:solidFill>
              <a:effectLst/>
              <a:uLnTx/>
              <a:uFillTx/>
              <a:latin typeface="DFDS Sans"/>
              <a:ea typeface="+mn-ea"/>
              <a:cs typeface="DFDS Sans" panose="00000500000000000000" pitchFamily="2" charset="0"/>
            </a:endParaRPr>
          </a:p>
        </p:txBody>
      </p:sp>
      <p:sp>
        <p:nvSpPr>
          <p:cNvPr id="14" name="Text Box 3">
            <a:extLst>
              <a:ext uri="{FF2B5EF4-FFF2-40B4-BE49-F238E27FC236}">
                <a16:creationId xmlns:a16="http://schemas.microsoft.com/office/drawing/2014/main" id="{66B3FBB4-61DE-493B-8F38-CB78E008D9BE}"/>
              </a:ext>
            </a:extLst>
          </p:cNvPr>
          <p:cNvSpPr txBox="1">
            <a:spLocks noChangeArrowheads="1"/>
          </p:cNvSpPr>
          <p:nvPr userDrawn="1"/>
        </p:nvSpPr>
        <p:spPr bwMode="auto">
          <a:xfrm>
            <a:off x="4033838" y="3591709"/>
            <a:ext cx="3136900" cy="22159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DFDS Sans" charset="0"/>
              </a:defRPr>
            </a:lvl1pPr>
            <a:lvl2pPr marL="742950" indent="-285750" eaLnBrk="0" hangingPunct="0">
              <a:defRPr>
                <a:solidFill>
                  <a:schemeClr val="tx1"/>
                </a:solidFill>
                <a:latin typeface="DFDS Sans" charset="0"/>
              </a:defRPr>
            </a:lvl2pPr>
            <a:lvl3pPr marL="1143000" indent="-228600" eaLnBrk="0" hangingPunct="0">
              <a:defRPr>
                <a:solidFill>
                  <a:schemeClr val="tx1"/>
                </a:solidFill>
                <a:latin typeface="DFDS Sans" charset="0"/>
              </a:defRPr>
            </a:lvl3pPr>
            <a:lvl4pPr marL="1600200" indent="-228600" eaLnBrk="0" hangingPunct="0">
              <a:defRPr>
                <a:solidFill>
                  <a:schemeClr val="tx1"/>
                </a:solidFill>
                <a:latin typeface="DFDS Sans" charset="0"/>
              </a:defRPr>
            </a:lvl4pPr>
            <a:lvl5pPr marL="2057400" indent="-228600" eaLnBrk="0" hangingPunct="0">
              <a:defRPr>
                <a:solidFill>
                  <a:schemeClr val="tx1"/>
                </a:solidFill>
                <a:latin typeface="DFDS Sans" charset="0"/>
              </a:defRPr>
            </a:lvl5pPr>
            <a:lvl6pPr marL="2514600" indent="-228600" eaLnBrk="0" fontAlgn="base" hangingPunct="0">
              <a:spcBef>
                <a:spcPct val="0"/>
              </a:spcBef>
              <a:spcAft>
                <a:spcPct val="0"/>
              </a:spcAft>
              <a:defRPr>
                <a:solidFill>
                  <a:schemeClr val="tx1"/>
                </a:solidFill>
                <a:latin typeface="DFDS Sans" charset="0"/>
              </a:defRPr>
            </a:lvl6pPr>
            <a:lvl7pPr marL="2971800" indent="-228600" eaLnBrk="0" fontAlgn="base" hangingPunct="0">
              <a:spcBef>
                <a:spcPct val="0"/>
              </a:spcBef>
              <a:spcAft>
                <a:spcPct val="0"/>
              </a:spcAft>
              <a:defRPr>
                <a:solidFill>
                  <a:schemeClr val="tx1"/>
                </a:solidFill>
                <a:latin typeface="DFDS Sans" charset="0"/>
              </a:defRPr>
            </a:lvl7pPr>
            <a:lvl8pPr marL="3429000" indent="-228600" eaLnBrk="0" fontAlgn="base" hangingPunct="0">
              <a:spcBef>
                <a:spcPct val="0"/>
              </a:spcBef>
              <a:spcAft>
                <a:spcPct val="0"/>
              </a:spcAft>
              <a:defRPr>
                <a:solidFill>
                  <a:schemeClr val="tx1"/>
                </a:solidFill>
                <a:latin typeface="DFDS Sans" charset="0"/>
              </a:defRPr>
            </a:lvl8pPr>
            <a:lvl9pPr marL="3886200" indent="-228600" eaLnBrk="0" fontAlgn="base" hangingPunct="0">
              <a:spcBef>
                <a:spcPct val="0"/>
              </a:spcBef>
              <a:spcAft>
                <a:spcPct val="0"/>
              </a:spcAft>
              <a:defRPr>
                <a:solidFill>
                  <a:schemeClr val="tx1"/>
                </a:solidFill>
                <a:latin typeface="DFDS Sans"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900" b="1" i="0" u="none" strike="noStrike" kern="1200" cap="none" spc="0" normalizeH="0" baseline="0" noProof="0">
                <a:ln>
                  <a:noFill/>
                </a:ln>
                <a:solidFill>
                  <a:srgbClr val="002B45"/>
                </a:solidFill>
                <a:effectLst/>
                <a:uLnTx/>
                <a:uFillTx/>
                <a:latin typeface="DFDS Sans"/>
                <a:ea typeface="+mn-ea"/>
                <a:cs typeface="DFDS Sans" panose="00000500000000000000" pitchFamily="2" charset="0"/>
              </a:rPr>
              <a:t>Secondary Colours &amp; Recommended Pairs</a:t>
            </a:r>
            <a:br>
              <a:rPr kumimoji="0" lang="en-GB" sz="900" b="1" i="0" u="none" strike="noStrike" kern="1200" cap="none" spc="0" normalizeH="0" baseline="0" noProof="0">
                <a:ln>
                  <a:noFill/>
                </a:ln>
                <a:solidFill>
                  <a:srgbClr val="002B45"/>
                </a:solidFill>
                <a:effectLst/>
                <a:uLnTx/>
                <a:uFillTx/>
                <a:latin typeface="DFDS Sans"/>
                <a:ea typeface="+mn-ea"/>
                <a:cs typeface="DFDS Sans" panose="00000500000000000000" pitchFamily="2" charset="0"/>
              </a:rPr>
            </a:br>
            <a:br>
              <a:rPr kumimoji="0" lang="en-GB" sz="900" b="1" i="0" u="none" strike="noStrike" kern="1200" cap="none" spc="0" normalizeH="0" baseline="0" noProof="0">
                <a:ln>
                  <a:noFill/>
                </a:ln>
                <a:solidFill>
                  <a:srgbClr val="002B45"/>
                </a:solidFill>
                <a:effectLst/>
                <a:uLnTx/>
                <a:uFillTx/>
                <a:latin typeface="DFDS Sans"/>
                <a:ea typeface="+mn-ea"/>
                <a:cs typeface="DFDS Sans" panose="00000500000000000000" pitchFamily="2" charset="0"/>
              </a:rPr>
            </a:br>
            <a:r>
              <a:rPr kumimoji="0" lang="en-GB" sz="900" b="0" i="0" u="none" strike="noStrike" kern="1200" cap="none" spc="0" normalizeH="0" baseline="0" noProof="0">
                <a:ln>
                  <a:noFill/>
                </a:ln>
                <a:solidFill>
                  <a:srgbClr val="002B45"/>
                </a:solidFill>
                <a:effectLst/>
                <a:uLnTx/>
                <a:uFillTx/>
                <a:latin typeface="DFDS Sans"/>
                <a:ea typeface="+mn-ea"/>
                <a:cs typeface="DFDS Sans" panose="00000500000000000000" pitchFamily="2" charset="0"/>
              </a:rPr>
              <a:t>It is recommended to only use a maximum of 4 colours when you create slides (white not included). Always use an element of white to keep the slides light.</a:t>
            </a:r>
            <a:br>
              <a:rPr kumimoji="0" lang="en-GB" sz="900" b="0" i="0" u="none" strike="noStrike" kern="1200" cap="none" spc="0" normalizeH="0" baseline="0" noProof="0">
                <a:ln>
                  <a:noFill/>
                </a:ln>
                <a:solidFill>
                  <a:srgbClr val="002B45"/>
                </a:solidFill>
                <a:effectLst/>
                <a:uLnTx/>
                <a:uFillTx/>
                <a:latin typeface="DFDS Sans"/>
                <a:ea typeface="+mn-ea"/>
                <a:cs typeface="DFDS Sans" panose="00000500000000000000" pitchFamily="2" charset="0"/>
              </a:rPr>
            </a:br>
            <a:br>
              <a:rPr kumimoji="0" lang="en-GB" sz="900" b="0" i="0" u="none" strike="noStrike" kern="1200" cap="none" spc="0" normalizeH="0" baseline="0" noProof="0">
                <a:ln>
                  <a:noFill/>
                </a:ln>
                <a:solidFill>
                  <a:srgbClr val="002B45"/>
                </a:solidFill>
                <a:effectLst/>
                <a:uLnTx/>
                <a:uFillTx/>
                <a:latin typeface="DFDS Sans"/>
                <a:ea typeface="+mn-ea"/>
                <a:cs typeface="DFDS Sans" panose="00000500000000000000" pitchFamily="2" charset="0"/>
              </a:rPr>
            </a:br>
            <a:r>
              <a:rPr kumimoji="0" lang="en-GB" sz="900" b="0" i="0" u="none" strike="noStrike" kern="1200" cap="none" spc="0" normalizeH="0" baseline="0" noProof="0">
                <a:ln>
                  <a:noFill/>
                </a:ln>
                <a:solidFill>
                  <a:srgbClr val="002B45"/>
                </a:solidFill>
                <a:effectLst/>
                <a:uLnTx/>
                <a:uFillTx/>
                <a:latin typeface="DFDS Sans"/>
                <a:ea typeface="+mn-ea"/>
                <a:cs typeface="DFDS Sans" panose="00000500000000000000" pitchFamily="2" charset="0"/>
              </a:rPr>
              <a:t>The primary colours can be mixed with secondary colour pairs, but only one pair at a time </a:t>
            </a:r>
            <a:r>
              <a:rPr kumimoji="0" lang="en-GB" sz="900" b="0" i="0" u="none" strike="noStrike" kern="1200" cap="none" spc="0" normalizeH="0" baseline="0" noProof="0" err="1">
                <a:ln>
                  <a:noFill/>
                </a:ln>
                <a:solidFill>
                  <a:srgbClr val="002B45"/>
                </a:solidFill>
                <a:effectLst/>
                <a:uLnTx/>
                <a:uFillTx/>
                <a:latin typeface="DFDS Sans"/>
                <a:ea typeface="+mn-ea"/>
                <a:cs typeface="DFDS Sans" panose="00000500000000000000" pitchFamily="2" charset="0"/>
              </a:rPr>
              <a:t>eg.</a:t>
            </a:r>
            <a:r>
              <a:rPr kumimoji="0" lang="en-GB" sz="900" b="0" i="0" u="none" strike="noStrike" kern="1200" cap="none" spc="0" normalizeH="0" baseline="0" noProof="0">
                <a:ln>
                  <a:noFill/>
                </a:ln>
                <a:solidFill>
                  <a:srgbClr val="002B45"/>
                </a:solidFill>
                <a:effectLst/>
                <a:uLnTx/>
                <a:uFillTx/>
                <a:latin typeface="DFDS Sans"/>
                <a:ea typeface="+mn-ea"/>
                <a:cs typeface="DFDS Sans" panose="00000500000000000000" pitchFamily="2" charset="0"/>
              </a:rPr>
              <a:t> Green and Light green.</a:t>
            </a:r>
            <a:br>
              <a:rPr kumimoji="0" lang="en-GB" sz="900" b="0" i="0" u="none" strike="noStrike" kern="1200" cap="none" spc="0" normalizeH="0" baseline="0" noProof="0">
                <a:ln>
                  <a:noFill/>
                </a:ln>
                <a:solidFill>
                  <a:srgbClr val="002B45"/>
                </a:solidFill>
                <a:effectLst/>
                <a:uLnTx/>
                <a:uFillTx/>
                <a:latin typeface="DFDS Sans"/>
                <a:ea typeface="+mn-ea"/>
                <a:cs typeface="DFDS Sans" panose="00000500000000000000" pitchFamily="2" charset="0"/>
              </a:rPr>
            </a:br>
            <a:br>
              <a:rPr kumimoji="0" lang="en-GB" sz="900" b="0" i="0" u="none" strike="noStrike" kern="1200" cap="none" spc="0" normalizeH="0" baseline="0" noProof="0">
                <a:ln>
                  <a:noFill/>
                </a:ln>
                <a:solidFill>
                  <a:srgbClr val="002B45"/>
                </a:solidFill>
                <a:effectLst/>
                <a:uLnTx/>
                <a:uFillTx/>
                <a:latin typeface="DFDS Sans"/>
                <a:ea typeface="+mn-ea"/>
                <a:cs typeface="DFDS Sans" panose="00000500000000000000" pitchFamily="2" charset="0"/>
              </a:rPr>
            </a:br>
            <a:r>
              <a:rPr kumimoji="0" lang="en-GB" sz="900" b="0" i="0" u="none" strike="noStrike" kern="1200" cap="none" spc="0" normalizeH="0" baseline="0" noProof="0">
                <a:ln>
                  <a:noFill/>
                </a:ln>
                <a:solidFill>
                  <a:srgbClr val="002B45"/>
                </a:solidFill>
                <a:effectLst/>
                <a:uLnTx/>
                <a:uFillTx/>
                <a:latin typeface="DFDS Sans"/>
                <a:ea typeface="+mn-ea"/>
                <a:cs typeface="DFDS Sans" panose="00000500000000000000" pitchFamily="2" charset="0"/>
              </a:rPr>
              <a:t>The secondary colour pairs are </a:t>
            </a:r>
            <a:r>
              <a:rPr kumimoji="0" lang="en-GB" sz="900" b="0" i="0" u="none" strike="noStrike" kern="1200" cap="none" spc="0" normalizeH="0" baseline="0" noProof="0" err="1">
                <a:ln>
                  <a:noFill/>
                </a:ln>
                <a:solidFill>
                  <a:srgbClr val="002B45"/>
                </a:solidFill>
                <a:effectLst/>
                <a:uLnTx/>
                <a:uFillTx/>
                <a:latin typeface="DFDS Sans"/>
                <a:ea typeface="+mn-ea"/>
                <a:cs typeface="DFDS Sans" panose="00000500000000000000" pitchFamily="2" charset="0"/>
              </a:rPr>
              <a:t>adviced</a:t>
            </a:r>
            <a:r>
              <a:rPr kumimoji="0" lang="en-GB" sz="900" b="0" i="0" u="none" strike="noStrike" kern="1200" cap="none" spc="0" normalizeH="0" baseline="0" noProof="0">
                <a:ln>
                  <a:noFill/>
                </a:ln>
                <a:solidFill>
                  <a:srgbClr val="002B45"/>
                </a:solidFill>
                <a:effectLst/>
                <a:uLnTx/>
                <a:uFillTx/>
                <a:latin typeface="DFDS Sans"/>
                <a:ea typeface="+mn-ea"/>
                <a:cs typeface="DFDS Sans" panose="00000500000000000000" pitchFamily="2" charset="0"/>
              </a:rPr>
              <a:t> to be used on e.g. fact boxes, for highlighting elements or for categorizing in graphs and charts. </a:t>
            </a:r>
            <a:br>
              <a:rPr kumimoji="0" lang="en-GB" sz="900" b="0" i="0" u="none" strike="noStrike" kern="1200" cap="none" spc="0" normalizeH="0" baseline="0" noProof="0">
                <a:ln>
                  <a:noFill/>
                </a:ln>
                <a:solidFill>
                  <a:srgbClr val="002B45"/>
                </a:solidFill>
                <a:effectLst/>
                <a:uLnTx/>
                <a:uFillTx/>
                <a:latin typeface="DFDS Sans"/>
                <a:ea typeface="+mn-ea"/>
                <a:cs typeface="DFDS Sans" panose="00000500000000000000" pitchFamily="2" charset="0"/>
              </a:rPr>
            </a:br>
            <a:br>
              <a:rPr kumimoji="0" lang="en-GB" sz="900" b="0" i="0" u="none" strike="noStrike" kern="1200" cap="none" spc="0" normalizeH="0" baseline="0" noProof="0">
                <a:ln>
                  <a:noFill/>
                </a:ln>
                <a:solidFill>
                  <a:srgbClr val="002B45"/>
                </a:solidFill>
                <a:effectLst/>
                <a:uLnTx/>
                <a:uFillTx/>
                <a:latin typeface="DFDS Sans"/>
                <a:ea typeface="+mn-ea"/>
                <a:cs typeface="DFDS Sans" panose="00000500000000000000" pitchFamily="2" charset="0"/>
              </a:rPr>
            </a:br>
            <a:r>
              <a:rPr kumimoji="0" lang="en-GB" sz="900" b="0" i="0" u="none" strike="noStrike" kern="1200" cap="none" spc="0" normalizeH="0" baseline="0" noProof="0">
                <a:ln>
                  <a:noFill/>
                </a:ln>
                <a:solidFill>
                  <a:srgbClr val="002B45"/>
                </a:solidFill>
                <a:effectLst/>
                <a:uLnTx/>
                <a:uFillTx/>
                <a:latin typeface="DFDS Sans"/>
                <a:ea typeface="+mn-ea"/>
                <a:cs typeface="DFDS Sans" panose="00000500000000000000" pitchFamily="2" charset="0"/>
              </a:rPr>
              <a:t>The secondary colours are not </a:t>
            </a:r>
            <a:r>
              <a:rPr kumimoji="0" lang="en-GB" sz="900" b="0" i="0" u="none" strike="noStrike" kern="1200" cap="none" spc="0" normalizeH="0" baseline="0" noProof="0" err="1">
                <a:ln>
                  <a:noFill/>
                </a:ln>
                <a:solidFill>
                  <a:srgbClr val="002B45"/>
                </a:solidFill>
                <a:effectLst/>
                <a:uLnTx/>
                <a:uFillTx/>
                <a:latin typeface="DFDS Sans"/>
                <a:ea typeface="+mn-ea"/>
                <a:cs typeface="DFDS Sans" panose="00000500000000000000" pitchFamily="2" charset="0"/>
              </a:rPr>
              <a:t>adviced</a:t>
            </a:r>
            <a:r>
              <a:rPr kumimoji="0" lang="en-GB" sz="900" b="0" i="0" u="none" strike="noStrike" kern="1200" cap="none" spc="0" normalizeH="0" baseline="0" noProof="0">
                <a:ln>
                  <a:noFill/>
                </a:ln>
                <a:solidFill>
                  <a:srgbClr val="002B45"/>
                </a:solidFill>
                <a:effectLst/>
                <a:uLnTx/>
                <a:uFillTx/>
                <a:latin typeface="DFDS Sans"/>
                <a:ea typeface="+mn-ea"/>
                <a:cs typeface="DFDS Sans" panose="00000500000000000000" pitchFamily="2" charset="0"/>
              </a:rPr>
              <a:t> to be used for larger surfaces, e.g. for backgrounds.</a:t>
            </a:r>
            <a:endParaRPr kumimoji="0" lang="en-GB" altLang="da-DK" sz="900" b="0" i="0" u="none" strike="noStrike" kern="1200" cap="none" spc="0" normalizeH="0" baseline="0" noProof="1">
              <a:ln>
                <a:noFill/>
              </a:ln>
              <a:solidFill>
                <a:srgbClr val="002B45"/>
              </a:solidFill>
              <a:effectLst/>
              <a:uLnTx/>
              <a:uFillTx/>
              <a:latin typeface="DFDS Sans"/>
              <a:ea typeface="+mn-ea"/>
              <a:cs typeface="DFDS Sans" panose="00000500000000000000" pitchFamily="2" charset="0"/>
            </a:endParaRPr>
          </a:p>
        </p:txBody>
      </p:sp>
      <p:sp>
        <p:nvSpPr>
          <p:cNvPr id="15" name="Text Box 4">
            <a:extLst>
              <a:ext uri="{FF2B5EF4-FFF2-40B4-BE49-F238E27FC236}">
                <a16:creationId xmlns:a16="http://schemas.microsoft.com/office/drawing/2014/main" id="{17EA80A0-F605-4897-AE2A-18933CAB6DBB}"/>
              </a:ext>
            </a:extLst>
          </p:cNvPr>
          <p:cNvSpPr txBox="1">
            <a:spLocks noChangeArrowheads="1"/>
          </p:cNvSpPr>
          <p:nvPr userDrawn="1"/>
        </p:nvSpPr>
        <p:spPr bwMode="auto">
          <a:xfrm>
            <a:off x="7987277" y="3591709"/>
            <a:ext cx="3128397" cy="1800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eaLnBrk="0" hangingPunct="0">
              <a:defRPr>
                <a:solidFill>
                  <a:schemeClr val="tx1"/>
                </a:solidFill>
                <a:latin typeface="DFDS Sans" charset="0"/>
              </a:defRPr>
            </a:lvl1pPr>
            <a:lvl2pPr marL="742950" indent="-285750" eaLnBrk="0" hangingPunct="0">
              <a:defRPr>
                <a:solidFill>
                  <a:schemeClr val="tx1"/>
                </a:solidFill>
                <a:latin typeface="DFDS Sans" charset="0"/>
              </a:defRPr>
            </a:lvl2pPr>
            <a:lvl3pPr marL="1143000" indent="-228600" eaLnBrk="0" hangingPunct="0">
              <a:defRPr>
                <a:solidFill>
                  <a:schemeClr val="tx1"/>
                </a:solidFill>
                <a:latin typeface="DFDS Sans" charset="0"/>
              </a:defRPr>
            </a:lvl3pPr>
            <a:lvl4pPr marL="1600200" indent="-228600" eaLnBrk="0" hangingPunct="0">
              <a:defRPr>
                <a:solidFill>
                  <a:schemeClr val="tx1"/>
                </a:solidFill>
                <a:latin typeface="DFDS Sans" charset="0"/>
              </a:defRPr>
            </a:lvl4pPr>
            <a:lvl5pPr marL="2057400" indent="-228600" eaLnBrk="0" hangingPunct="0">
              <a:defRPr>
                <a:solidFill>
                  <a:schemeClr val="tx1"/>
                </a:solidFill>
                <a:latin typeface="DFDS Sans" charset="0"/>
              </a:defRPr>
            </a:lvl5pPr>
            <a:lvl6pPr marL="2514600" indent="-228600" eaLnBrk="0" fontAlgn="base" hangingPunct="0">
              <a:spcBef>
                <a:spcPct val="0"/>
              </a:spcBef>
              <a:spcAft>
                <a:spcPct val="0"/>
              </a:spcAft>
              <a:defRPr>
                <a:solidFill>
                  <a:schemeClr val="tx1"/>
                </a:solidFill>
                <a:latin typeface="DFDS Sans" charset="0"/>
              </a:defRPr>
            </a:lvl6pPr>
            <a:lvl7pPr marL="2971800" indent="-228600" eaLnBrk="0" fontAlgn="base" hangingPunct="0">
              <a:spcBef>
                <a:spcPct val="0"/>
              </a:spcBef>
              <a:spcAft>
                <a:spcPct val="0"/>
              </a:spcAft>
              <a:defRPr>
                <a:solidFill>
                  <a:schemeClr val="tx1"/>
                </a:solidFill>
                <a:latin typeface="DFDS Sans" charset="0"/>
              </a:defRPr>
            </a:lvl7pPr>
            <a:lvl8pPr marL="3429000" indent="-228600" eaLnBrk="0" fontAlgn="base" hangingPunct="0">
              <a:spcBef>
                <a:spcPct val="0"/>
              </a:spcBef>
              <a:spcAft>
                <a:spcPct val="0"/>
              </a:spcAft>
              <a:defRPr>
                <a:solidFill>
                  <a:schemeClr val="tx1"/>
                </a:solidFill>
                <a:latin typeface="DFDS Sans" charset="0"/>
              </a:defRPr>
            </a:lvl8pPr>
            <a:lvl9pPr marL="3886200" indent="-228600" eaLnBrk="0" fontAlgn="base" hangingPunct="0">
              <a:spcBef>
                <a:spcPct val="0"/>
              </a:spcBef>
              <a:spcAft>
                <a:spcPct val="0"/>
              </a:spcAft>
              <a:defRPr>
                <a:solidFill>
                  <a:schemeClr val="tx1"/>
                </a:solidFill>
                <a:latin typeface="DFDS Sans"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900" b="1" i="0" u="none" strike="noStrike" kern="1200" cap="none" spc="0" normalizeH="0" baseline="0" noProof="0">
                <a:ln>
                  <a:noFill/>
                </a:ln>
                <a:solidFill>
                  <a:srgbClr val="002B45"/>
                </a:solidFill>
                <a:effectLst/>
                <a:uLnTx/>
                <a:uFillTx/>
                <a:latin typeface="DFDS Sans"/>
                <a:ea typeface="+mn-ea"/>
                <a:cs typeface="DFDS Sans" panose="00000500000000000000" pitchFamily="2" charset="0"/>
              </a:rPr>
              <a:t>Colour Use</a:t>
            </a:r>
            <a:br>
              <a:rPr kumimoji="0" lang="en-GB" sz="900" b="1" i="0" u="none" strike="noStrike" kern="1200" cap="none" spc="0" normalizeH="0" baseline="0" noProof="0">
                <a:ln>
                  <a:noFill/>
                </a:ln>
                <a:solidFill>
                  <a:srgbClr val="002B45"/>
                </a:solidFill>
                <a:effectLst/>
                <a:uLnTx/>
                <a:uFillTx/>
                <a:latin typeface="DFDS Sans"/>
                <a:ea typeface="+mn-ea"/>
                <a:cs typeface="DFDS Sans" panose="00000500000000000000" pitchFamily="2" charset="0"/>
              </a:rPr>
            </a:br>
            <a:br>
              <a:rPr kumimoji="0" lang="en-GB" sz="900" b="1" i="0" u="none" strike="noStrike" kern="1200" cap="none" spc="0" normalizeH="0" baseline="0" noProof="0">
                <a:ln>
                  <a:noFill/>
                </a:ln>
                <a:solidFill>
                  <a:srgbClr val="002B45"/>
                </a:solidFill>
                <a:effectLst/>
                <a:uLnTx/>
                <a:uFillTx/>
                <a:latin typeface="DFDS Sans"/>
                <a:ea typeface="+mn-ea"/>
                <a:cs typeface="DFDS Sans" panose="00000500000000000000" pitchFamily="2" charset="0"/>
              </a:rPr>
            </a:br>
            <a:r>
              <a:rPr kumimoji="0" lang="en-GB" sz="900" b="0" i="0" u="none" strike="noStrike" kern="1200" cap="none" spc="0" normalizeH="0" baseline="0" noProof="0">
                <a:ln>
                  <a:noFill/>
                </a:ln>
                <a:solidFill>
                  <a:srgbClr val="002B45"/>
                </a:solidFill>
                <a:effectLst/>
                <a:uLnTx/>
                <a:uFillTx/>
                <a:latin typeface="DFDS Sans"/>
                <a:ea typeface="+mn-ea"/>
                <a:cs typeface="DFDS Sans" panose="00000500000000000000" pitchFamily="2" charset="0"/>
              </a:rPr>
              <a:t>When using the DFDS colour palette, the primary colours should always be the most prominent colours. </a:t>
            </a:r>
            <a:br>
              <a:rPr kumimoji="0" lang="en-GB" sz="900" b="0" i="0" u="none" strike="noStrike" kern="1200" cap="none" spc="0" normalizeH="0" baseline="0" noProof="0">
                <a:ln>
                  <a:noFill/>
                </a:ln>
                <a:solidFill>
                  <a:srgbClr val="002B45"/>
                </a:solidFill>
                <a:effectLst/>
                <a:uLnTx/>
                <a:uFillTx/>
                <a:latin typeface="DFDS Sans"/>
                <a:ea typeface="+mn-ea"/>
                <a:cs typeface="DFDS Sans" panose="00000500000000000000" pitchFamily="2" charset="0"/>
              </a:rPr>
            </a:br>
            <a:br>
              <a:rPr kumimoji="0" lang="en-GB" sz="900" b="0" i="0" u="none" strike="noStrike" kern="1200" cap="none" spc="0" normalizeH="0" baseline="0" noProof="0">
                <a:ln>
                  <a:noFill/>
                </a:ln>
                <a:solidFill>
                  <a:srgbClr val="002B45"/>
                </a:solidFill>
                <a:effectLst/>
                <a:uLnTx/>
                <a:uFillTx/>
                <a:latin typeface="DFDS Sans"/>
                <a:ea typeface="+mn-ea"/>
                <a:cs typeface="DFDS Sans" panose="00000500000000000000" pitchFamily="2" charset="0"/>
              </a:rPr>
            </a:br>
            <a:r>
              <a:rPr kumimoji="0" lang="en-GB" sz="900" b="0" i="0" u="none" strike="noStrike" kern="1200" cap="none" spc="0" normalizeH="0" baseline="0" noProof="0">
                <a:ln>
                  <a:noFill/>
                </a:ln>
                <a:solidFill>
                  <a:srgbClr val="002B45"/>
                </a:solidFill>
                <a:effectLst/>
                <a:uLnTx/>
                <a:uFillTx/>
                <a:latin typeface="DFDS Sans"/>
                <a:ea typeface="+mn-ea"/>
                <a:cs typeface="DFDS Sans" panose="00000500000000000000" pitchFamily="2" charset="0"/>
              </a:rPr>
              <a:t>The secondary colours should only be equal to 10-20% in an DFDS </a:t>
            </a:r>
            <a:r>
              <a:rPr kumimoji="0" lang="en-GB" sz="900" b="0" i="0" u="none" strike="noStrike" kern="1200" cap="none" spc="0" normalizeH="0" baseline="0" noProof="0" err="1">
                <a:ln>
                  <a:noFill/>
                </a:ln>
                <a:solidFill>
                  <a:srgbClr val="002B45"/>
                </a:solidFill>
                <a:effectLst/>
                <a:uLnTx/>
                <a:uFillTx/>
                <a:latin typeface="DFDS Sans"/>
                <a:ea typeface="+mn-ea"/>
                <a:cs typeface="DFDS Sans" panose="00000500000000000000" pitchFamily="2" charset="0"/>
              </a:rPr>
              <a:t>Powerpoint</a:t>
            </a:r>
            <a:r>
              <a:rPr kumimoji="0" lang="en-GB" sz="900" b="0" i="0" u="none" strike="noStrike" kern="1200" cap="none" spc="0" normalizeH="0" baseline="0" noProof="0">
                <a:ln>
                  <a:noFill/>
                </a:ln>
                <a:solidFill>
                  <a:srgbClr val="002B45"/>
                </a:solidFill>
                <a:effectLst/>
                <a:uLnTx/>
                <a:uFillTx/>
                <a:latin typeface="DFDS Sans"/>
                <a:ea typeface="+mn-ea"/>
                <a:cs typeface="DFDS Sans" panose="00000500000000000000" pitchFamily="2" charset="0"/>
              </a:rPr>
              <a:t> presentation. </a:t>
            </a:r>
            <a:br>
              <a:rPr kumimoji="0" lang="en-GB" sz="900" b="0" i="0" u="none" strike="noStrike" kern="1200" cap="none" spc="0" normalizeH="0" baseline="0" noProof="0">
                <a:ln>
                  <a:noFill/>
                </a:ln>
                <a:solidFill>
                  <a:srgbClr val="002B45"/>
                </a:solidFill>
                <a:effectLst/>
                <a:uLnTx/>
                <a:uFillTx/>
                <a:latin typeface="DFDS Sans"/>
                <a:ea typeface="+mn-ea"/>
                <a:cs typeface="DFDS Sans" panose="00000500000000000000" pitchFamily="2" charset="0"/>
              </a:rPr>
            </a:br>
            <a:br>
              <a:rPr kumimoji="0" lang="en-GB" sz="900" b="0" i="0" u="none" strike="noStrike" kern="1200" cap="none" spc="0" normalizeH="0" baseline="0" noProof="0">
                <a:ln>
                  <a:noFill/>
                </a:ln>
                <a:solidFill>
                  <a:srgbClr val="002B45"/>
                </a:solidFill>
                <a:effectLst/>
                <a:uLnTx/>
                <a:uFillTx/>
                <a:latin typeface="DFDS Sans"/>
                <a:ea typeface="+mn-ea"/>
                <a:cs typeface="DFDS Sans" panose="00000500000000000000" pitchFamily="2" charset="0"/>
              </a:rPr>
            </a:br>
            <a:r>
              <a:rPr kumimoji="0" lang="en-US" sz="900" b="0" i="0" u="none" strike="noStrike" kern="1200" cap="none" spc="0" normalizeH="0" baseline="0" noProof="0">
                <a:ln>
                  <a:noFill/>
                </a:ln>
                <a:solidFill>
                  <a:srgbClr val="002B45"/>
                </a:solidFill>
                <a:effectLst/>
                <a:uLnTx/>
                <a:uFillTx/>
                <a:latin typeface="DFDS Sans"/>
                <a:ea typeface="+mn-ea"/>
                <a:cs typeface="DFDS Sans" panose="00000500000000000000" pitchFamily="2" charset="0"/>
              </a:rPr>
              <a:t>The Signal Yellow is a DFDS primary </a:t>
            </a:r>
            <a:r>
              <a:rPr kumimoji="0" lang="en-US" sz="900" b="0" i="0" u="none" strike="noStrike" kern="1200" cap="none" spc="0" normalizeH="0" baseline="0" noProof="0" err="1">
                <a:ln>
                  <a:noFill/>
                </a:ln>
                <a:solidFill>
                  <a:srgbClr val="002B45"/>
                </a:solidFill>
                <a:effectLst/>
                <a:uLnTx/>
                <a:uFillTx/>
                <a:latin typeface="DFDS Sans"/>
                <a:ea typeface="+mn-ea"/>
                <a:cs typeface="DFDS Sans" panose="00000500000000000000" pitchFamily="2" charset="0"/>
              </a:rPr>
              <a:t>colour</a:t>
            </a:r>
            <a:r>
              <a:rPr kumimoji="0" lang="en-US" sz="900" b="0" i="0" u="none" strike="noStrike" kern="1200" cap="none" spc="0" normalizeH="0" baseline="0" noProof="0">
                <a:ln>
                  <a:noFill/>
                </a:ln>
                <a:solidFill>
                  <a:srgbClr val="002B45"/>
                </a:solidFill>
                <a:effectLst/>
                <a:uLnTx/>
                <a:uFillTx/>
                <a:latin typeface="DFDS Sans"/>
                <a:ea typeface="+mn-ea"/>
                <a:cs typeface="DFDS Sans" panose="00000500000000000000" pitchFamily="2" charset="0"/>
              </a:rPr>
              <a:t>, and was created for highlighting. However, if there is a need for alternatives, Sea Blue is recommended. Alternatively, some of the bright </a:t>
            </a:r>
            <a:r>
              <a:rPr kumimoji="0" lang="en-US" sz="900" b="0" i="0" u="none" strike="noStrike" kern="1200" cap="none" spc="0" normalizeH="0" baseline="0" noProof="0" err="1">
                <a:ln>
                  <a:noFill/>
                </a:ln>
                <a:solidFill>
                  <a:srgbClr val="002B45"/>
                </a:solidFill>
                <a:effectLst/>
                <a:uLnTx/>
                <a:uFillTx/>
                <a:latin typeface="DFDS Sans"/>
                <a:ea typeface="+mn-ea"/>
                <a:cs typeface="DFDS Sans" panose="00000500000000000000" pitchFamily="2" charset="0"/>
              </a:rPr>
              <a:t>colours</a:t>
            </a:r>
            <a:r>
              <a:rPr kumimoji="0" lang="en-US" sz="900" b="0" i="0" u="none" strike="noStrike" kern="1200" cap="none" spc="0" normalizeH="0" baseline="0" noProof="0">
                <a:ln>
                  <a:noFill/>
                </a:ln>
                <a:solidFill>
                  <a:srgbClr val="002B45"/>
                </a:solidFill>
                <a:effectLst/>
                <a:uLnTx/>
                <a:uFillTx/>
                <a:latin typeface="DFDS Sans"/>
                <a:ea typeface="+mn-ea"/>
                <a:cs typeface="DFDS Sans" panose="00000500000000000000" pitchFamily="2" charset="0"/>
              </a:rPr>
              <a:t> in the secondary palette can also be used for this.</a:t>
            </a:r>
            <a:endParaRPr kumimoji="0" lang="en-GB" altLang="da-DK" sz="900" b="0" i="0" u="none" strike="noStrike" kern="1200" cap="none" spc="0" normalizeH="0" baseline="0" noProof="1">
              <a:ln>
                <a:noFill/>
              </a:ln>
              <a:solidFill>
                <a:srgbClr val="002B45"/>
              </a:solidFill>
              <a:effectLst/>
              <a:uLnTx/>
              <a:uFillTx/>
              <a:latin typeface="DFDS Sans"/>
              <a:ea typeface="+mn-ea"/>
              <a:cs typeface="DFDS Sans" panose="00000500000000000000" pitchFamily="2" charset="0"/>
            </a:endParaRPr>
          </a:p>
        </p:txBody>
      </p:sp>
      <p:sp>
        <p:nvSpPr>
          <p:cNvPr id="20" name="Date Placeholder 6" hidden="1">
            <a:extLst>
              <a:ext uri="{FF2B5EF4-FFF2-40B4-BE49-F238E27FC236}">
                <a16:creationId xmlns:a16="http://schemas.microsoft.com/office/drawing/2014/main" id="{C8F77785-DAC9-4046-8A82-0AC407341173}"/>
              </a:ext>
            </a:extLst>
          </p:cNvPr>
          <p:cNvSpPr>
            <a:spLocks noGrp="1"/>
          </p:cNvSpPr>
          <p:nvPr>
            <p:ph type="dt" sz="half" idx="15"/>
          </p:nvPr>
        </p:nvSpPr>
        <p:spPr>
          <a:xfrm>
            <a:off x="0" y="6858000"/>
            <a:ext cx="0" cy="0"/>
          </a:xfrm>
          <a:prstGeom prst="rect">
            <a:avLst/>
          </a:prstGeom>
        </p:spPr>
        <p:txBody>
          <a:bodyPr/>
          <a:lstStyle>
            <a:lvl1pPr>
              <a:defRPr sz="100">
                <a:noFill/>
              </a:defRPr>
            </a:lvl1pPr>
          </a:lstStyle>
          <a:p>
            <a:fld id="{42C9FEF6-841E-454F-9E0B-9325F9B1C056}" type="datetime4">
              <a:rPr lang="en-GB" smtClean="0"/>
              <a:t>20 February 2025</a:t>
            </a:fld>
            <a:endParaRPr lang="en-GB"/>
          </a:p>
        </p:txBody>
      </p:sp>
      <p:sp>
        <p:nvSpPr>
          <p:cNvPr id="21" name="Footer Placeholder 8" hidden="1">
            <a:extLst>
              <a:ext uri="{FF2B5EF4-FFF2-40B4-BE49-F238E27FC236}">
                <a16:creationId xmlns:a16="http://schemas.microsoft.com/office/drawing/2014/main" id="{9675D1FD-FB10-4317-AAF4-BDCB2224F107}"/>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23" name="Slide Number Placeholder 10" hidden="1">
            <a:extLst>
              <a:ext uri="{FF2B5EF4-FFF2-40B4-BE49-F238E27FC236}">
                <a16:creationId xmlns:a16="http://schemas.microsoft.com/office/drawing/2014/main" id="{BBF7E881-962B-4385-8C0A-994D3D7717F3}"/>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pic>
        <p:nvPicPr>
          <p:cNvPr id="5" name="Graphic 4">
            <a:extLst>
              <a:ext uri="{FF2B5EF4-FFF2-40B4-BE49-F238E27FC236}">
                <a16:creationId xmlns:a16="http://schemas.microsoft.com/office/drawing/2014/main" id="{5A8E2A50-A09D-8ECB-35AE-BE9F77DFCA0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69876" y="1302309"/>
            <a:ext cx="2800350" cy="1695450"/>
          </a:xfrm>
          <a:prstGeom prst="rect">
            <a:avLst/>
          </a:prstGeom>
        </p:spPr>
      </p:pic>
      <p:pic>
        <p:nvPicPr>
          <p:cNvPr id="7" name="Graphic 6">
            <a:extLst>
              <a:ext uri="{FF2B5EF4-FFF2-40B4-BE49-F238E27FC236}">
                <a16:creationId xmlns:a16="http://schemas.microsoft.com/office/drawing/2014/main" id="{9EEFD171-B0B0-38DA-7BFE-B5B55618F18E}"/>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043927" y="1302309"/>
            <a:ext cx="3600450" cy="2085975"/>
          </a:xfrm>
          <a:prstGeom prst="rect">
            <a:avLst/>
          </a:prstGeom>
        </p:spPr>
      </p:pic>
      <p:pic>
        <p:nvPicPr>
          <p:cNvPr id="10" name="Graphic 9">
            <a:extLst>
              <a:ext uri="{FF2B5EF4-FFF2-40B4-BE49-F238E27FC236}">
                <a16:creationId xmlns:a16="http://schemas.microsoft.com/office/drawing/2014/main" id="{412BAA1B-3EF2-6DCA-8D4B-A9B90D36FA11}"/>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987277" y="1302309"/>
            <a:ext cx="3257550" cy="2076450"/>
          </a:xfrm>
          <a:prstGeom prst="rect">
            <a:avLst/>
          </a:prstGeom>
        </p:spPr>
      </p:pic>
      <p:sp>
        <p:nvSpPr>
          <p:cNvPr id="2" name="Footer logo">
            <a:extLst>
              <a:ext uri="{FF2B5EF4-FFF2-40B4-BE49-F238E27FC236}">
                <a16:creationId xmlns:a16="http://schemas.microsoft.com/office/drawing/2014/main" id="{F181D174-88D5-A720-7542-72C4F51AF874}"/>
              </a:ext>
            </a:extLst>
          </p:cNvPr>
          <p:cNvSpPr>
            <a:spLocks noChangeAspect="1"/>
          </p:cNvSpPr>
          <p:nvPr userDrawn="1"/>
        </p:nvSpPr>
        <p:spPr>
          <a:xfrm>
            <a:off x="11634124" y="6504694"/>
            <a:ext cx="288000" cy="81844"/>
          </a:xfrm>
          <a:custGeom>
            <a:avLst/>
            <a:gdLst>
              <a:gd name="connsiteX0" fmla="*/ 109963 w 193596"/>
              <a:gd name="connsiteY0" fmla="*/ 11125 h 55016"/>
              <a:gd name="connsiteX1" fmla="*/ 109963 w 193596"/>
              <a:gd name="connsiteY1" fmla="*/ 43891 h 55016"/>
              <a:gd name="connsiteX2" fmla="*/ 118345 w 193596"/>
              <a:gd name="connsiteY2" fmla="*/ 43891 h 55016"/>
              <a:gd name="connsiteX3" fmla="*/ 133356 w 193596"/>
              <a:gd name="connsiteY3" fmla="*/ 27356 h 55016"/>
              <a:gd name="connsiteX4" fmla="*/ 118421 w 193596"/>
              <a:gd name="connsiteY4" fmla="*/ 11125 h 55016"/>
              <a:gd name="connsiteX5" fmla="*/ 11811 w 193596"/>
              <a:gd name="connsiteY5" fmla="*/ 11125 h 55016"/>
              <a:gd name="connsiteX6" fmla="*/ 11811 w 193596"/>
              <a:gd name="connsiteY6" fmla="*/ 43891 h 55016"/>
              <a:gd name="connsiteX7" fmla="*/ 20193 w 193596"/>
              <a:gd name="connsiteY7" fmla="*/ 43891 h 55016"/>
              <a:gd name="connsiteX8" fmla="*/ 35204 w 193596"/>
              <a:gd name="connsiteY8" fmla="*/ 27356 h 55016"/>
              <a:gd name="connsiteX9" fmla="*/ 20269 w 193596"/>
              <a:gd name="connsiteY9" fmla="*/ 11125 h 55016"/>
              <a:gd name="connsiteX10" fmla="*/ 98152 w 193596"/>
              <a:gd name="connsiteY10" fmla="*/ 838 h 55016"/>
              <a:gd name="connsiteX11" fmla="*/ 119564 w 193596"/>
              <a:gd name="connsiteY11" fmla="*/ 838 h 55016"/>
              <a:gd name="connsiteX12" fmla="*/ 145396 w 193596"/>
              <a:gd name="connsiteY12" fmla="*/ 27356 h 55016"/>
              <a:gd name="connsiteX13" fmla="*/ 119564 w 193596"/>
              <a:gd name="connsiteY13" fmla="*/ 54178 h 55016"/>
              <a:gd name="connsiteX14" fmla="*/ 98152 w 193596"/>
              <a:gd name="connsiteY14" fmla="*/ 54178 h 55016"/>
              <a:gd name="connsiteX15" fmla="*/ 55438 w 193596"/>
              <a:gd name="connsiteY15" fmla="*/ 838 h 55016"/>
              <a:gd name="connsiteX16" fmla="*/ 89728 w 193596"/>
              <a:gd name="connsiteY16" fmla="*/ 838 h 55016"/>
              <a:gd name="connsiteX17" fmla="*/ 89728 w 193596"/>
              <a:gd name="connsiteY17" fmla="*/ 11049 h 55016"/>
              <a:gd name="connsiteX18" fmla="*/ 67249 w 193596"/>
              <a:gd name="connsiteY18" fmla="*/ 11049 h 55016"/>
              <a:gd name="connsiteX19" fmla="*/ 67249 w 193596"/>
              <a:gd name="connsiteY19" fmla="*/ 23774 h 55016"/>
              <a:gd name="connsiteX20" fmla="*/ 89042 w 193596"/>
              <a:gd name="connsiteY20" fmla="*/ 23774 h 55016"/>
              <a:gd name="connsiteX21" fmla="*/ 89042 w 193596"/>
              <a:gd name="connsiteY21" fmla="*/ 33909 h 55016"/>
              <a:gd name="connsiteX22" fmla="*/ 67249 w 193596"/>
              <a:gd name="connsiteY22" fmla="*/ 33909 h 55016"/>
              <a:gd name="connsiteX23" fmla="*/ 67249 w 193596"/>
              <a:gd name="connsiteY23" fmla="*/ 54178 h 55016"/>
              <a:gd name="connsiteX24" fmla="*/ 55438 w 193596"/>
              <a:gd name="connsiteY24" fmla="*/ 54178 h 55016"/>
              <a:gd name="connsiteX25" fmla="*/ 0 w 193596"/>
              <a:gd name="connsiteY25" fmla="*/ 838 h 55016"/>
              <a:gd name="connsiteX26" fmla="*/ 21412 w 193596"/>
              <a:gd name="connsiteY26" fmla="*/ 838 h 55016"/>
              <a:gd name="connsiteX27" fmla="*/ 47244 w 193596"/>
              <a:gd name="connsiteY27" fmla="*/ 27356 h 55016"/>
              <a:gd name="connsiteX28" fmla="*/ 21412 w 193596"/>
              <a:gd name="connsiteY28" fmla="*/ 54178 h 55016"/>
              <a:gd name="connsiteX29" fmla="*/ 0 w 193596"/>
              <a:gd name="connsiteY29" fmla="*/ 54178 h 55016"/>
              <a:gd name="connsiteX30" fmla="*/ 172031 w 193596"/>
              <a:gd name="connsiteY30" fmla="*/ 0 h 55016"/>
              <a:gd name="connsiteX31" fmla="*/ 192605 w 193596"/>
              <a:gd name="connsiteY31" fmla="*/ 16459 h 55016"/>
              <a:gd name="connsiteX32" fmla="*/ 180642 w 193596"/>
              <a:gd name="connsiteY32" fmla="*/ 16459 h 55016"/>
              <a:gd name="connsiteX33" fmla="*/ 172031 w 193596"/>
              <a:gd name="connsiteY33" fmla="*/ 9982 h 55016"/>
              <a:gd name="connsiteX34" fmla="*/ 163725 w 193596"/>
              <a:gd name="connsiteY34" fmla="*/ 15545 h 55016"/>
              <a:gd name="connsiteX35" fmla="*/ 170202 w 193596"/>
              <a:gd name="connsiteY35" fmla="*/ 20803 h 55016"/>
              <a:gd name="connsiteX36" fmla="*/ 178127 w 193596"/>
              <a:gd name="connsiteY36" fmla="*/ 22327 h 55016"/>
              <a:gd name="connsiteX37" fmla="*/ 193596 w 193596"/>
              <a:gd name="connsiteY37" fmla="*/ 38176 h 55016"/>
              <a:gd name="connsiteX38" fmla="*/ 172793 w 193596"/>
              <a:gd name="connsiteY38" fmla="*/ 55016 h 55016"/>
              <a:gd name="connsiteX39" fmla="*/ 151000 w 193596"/>
              <a:gd name="connsiteY39" fmla="*/ 37871 h 55016"/>
              <a:gd name="connsiteX40" fmla="*/ 162963 w 193596"/>
              <a:gd name="connsiteY40" fmla="*/ 37871 h 55016"/>
              <a:gd name="connsiteX41" fmla="*/ 172717 w 193596"/>
              <a:gd name="connsiteY41" fmla="*/ 45034 h 55016"/>
              <a:gd name="connsiteX42" fmla="*/ 181632 w 193596"/>
              <a:gd name="connsiteY42" fmla="*/ 38862 h 55016"/>
              <a:gd name="connsiteX43" fmla="*/ 174774 w 193596"/>
              <a:gd name="connsiteY43" fmla="*/ 32918 h 55016"/>
              <a:gd name="connsiteX44" fmla="*/ 167078 w 193596"/>
              <a:gd name="connsiteY44" fmla="*/ 31471 h 55016"/>
              <a:gd name="connsiteX45" fmla="*/ 151686 w 193596"/>
              <a:gd name="connsiteY45" fmla="*/ 16078 h 55016"/>
              <a:gd name="connsiteX46" fmla="*/ 172031 w 193596"/>
              <a:gd name="connsiteY46" fmla="*/ 0 h 55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3596" h="55016">
                <a:moveTo>
                  <a:pt x="109963" y="11125"/>
                </a:moveTo>
                <a:lnTo>
                  <a:pt x="109963" y="43891"/>
                </a:lnTo>
                <a:lnTo>
                  <a:pt x="118345" y="43891"/>
                </a:lnTo>
                <a:cubicBezTo>
                  <a:pt x="126498" y="43891"/>
                  <a:pt x="133356" y="38786"/>
                  <a:pt x="133356" y="27356"/>
                </a:cubicBezTo>
                <a:cubicBezTo>
                  <a:pt x="133356" y="16611"/>
                  <a:pt x="127032" y="11125"/>
                  <a:pt x="118421" y="11125"/>
                </a:cubicBezTo>
                <a:close/>
                <a:moveTo>
                  <a:pt x="11811" y="11125"/>
                </a:moveTo>
                <a:lnTo>
                  <a:pt x="11811" y="43891"/>
                </a:lnTo>
                <a:lnTo>
                  <a:pt x="20193" y="43891"/>
                </a:lnTo>
                <a:cubicBezTo>
                  <a:pt x="28346" y="43891"/>
                  <a:pt x="35204" y="38786"/>
                  <a:pt x="35204" y="27356"/>
                </a:cubicBezTo>
                <a:cubicBezTo>
                  <a:pt x="35204" y="16611"/>
                  <a:pt x="28880" y="11125"/>
                  <a:pt x="20269" y="11125"/>
                </a:cubicBezTo>
                <a:close/>
                <a:moveTo>
                  <a:pt x="98152" y="838"/>
                </a:moveTo>
                <a:lnTo>
                  <a:pt x="119564" y="838"/>
                </a:lnTo>
                <a:cubicBezTo>
                  <a:pt x="135338" y="838"/>
                  <a:pt x="145396" y="11582"/>
                  <a:pt x="145396" y="27356"/>
                </a:cubicBezTo>
                <a:cubicBezTo>
                  <a:pt x="145396" y="43434"/>
                  <a:pt x="135338" y="54178"/>
                  <a:pt x="119564" y="54178"/>
                </a:cubicBezTo>
                <a:lnTo>
                  <a:pt x="98152" y="54178"/>
                </a:lnTo>
                <a:close/>
                <a:moveTo>
                  <a:pt x="55438" y="838"/>
                </a:moveTo>
                <a:lnTo>
                  <a:pt x="89728" y="838"/>
                </a:lnTo>
                <a:lnTo>
                  <a:pt x="89728" y="11049"/>
                </a:lnTo>
                <a:lnTo>
                  <a:pt x="67249" y="11049"/>
                </a:lnTo>
                <a:lnTo>
                  <a:pt x="67249" y="23774"/>
                </a:lnTo>
                <a:lnTo>
                  <a:pt x="89042" y="23774"/>
                </a:lnTo>
                <a:lnTo>
                  <a:pt x="89042" y="33909"/>
                </a:lnTo>
                <a:lnTo>
                  <a:pt x="67249" y="33909"/>
                </a:lnTo>
                <a:lnTo>
                  <a:pt x="67249" y="54178"/>
                </a:lnTo>
                <a:lnTo>
                  <a:pt x="55438" y="54178"/>
                </a:lnTo>
                <a:close/>
                <a:moveTo>
                  <a:pt x="0" y="838"/>
                </a:moveTo>
                <a:lnTo>
                  <a:pt x="21412" y="838"/>
                </a:lnTo>
                <a:cubicBezTo>
                  <a:pt x="37186" y="838"/>
                  <a:pt x="47244" y="11582"/>
                  <a:pt x="47244" y="27356"/>
                </a:cubicBezTo>
                <a:cubicBezTo>
                  <a:pt x="47244" y="43434"/>
                  <a:pt x="37186" y="54178"/>
                  <a:pt x="21412" y="54178"/>
                </a:cubicBezTo>
                <a:lnTo>
                  <a:pt x="0" y="54178"/>
                </a:lnTo>
                <a:close/>
                <a:moveTo>
                  <a:pt x="172031" y="0"/>
                </a:moveTo>
                <a:cubicBezTo>
                  <a:pt x="183614" y="0"/>
                  <a:pt x="191538" y="6629"/>
                  <a:pt x="192605" y="16459"/>
                </a:cubicBezTo>
                <a:lnTo>
                  <a:pt x="180642" y="16459"/>
                </a:lnTo>
                <a:cubicBezTo>
                  <a:pt x="179727" y="12421"/>
                  <a:pt x="177213" y="9982"/>
                  <a:pt x="172031" y="9982"/>
                </a:cubicBezTo>
                <a:cubicBezTo>
                  <a:pt x="167764" y="9982"/>
                  <a:pt x="163725" y="11659"/>
                  <a:pt x="163725" y="15545"/>
                </a:cubicBezTo>
                <a:cubicBezTo>
                  <a:pt x="163725" y="18517"/>
                  <a:pt x="166164" y="19964"/>
                  <a:pt x="170202" y="20803"/>
                </a:cubicBezTo>
                <a:lnTo>
                  <a:pt x="178127" y="22327"/>
                </a:lnTo>
                <a:cubicBezTo>
                  <a:pt x="187805" y="24155"/>
                  <a:pt x="193596" y="29489"/>
                  <a:pt x="193596" y="38176"/>
                </a:cubicBezTo>
                <a:cubicBezTo>
                  <a:pt x="193596" y="49454"/>
                  <a:pt x="183842" y="55016"/>
                  <a:pt x="172793" y="55016"/>
                </a:cubicBezTo>
                <a:cubicBezTo>
                  <a:pt x="159839" y="55016"/>
                  <a:pt x="152219" y="47701"/>
                  <a:pt x="151000" y="37871"/>
                </a:cubicBezTo>
                <a:lnTo>
                  <a:pt x="162963" y="37871"/>
                </a:lnTo>
                <a:cubicBezTo>
                  <a:pt x="163649" y="42367"/>
                  <a:pt x="167383" y="45034"/>
                  <a:pt x="172717" y="45034"/>
                </a:cubicBezTo>
                <a:cubicBezTo>
                  <a:pt x="177365" y="45034"/>
                  <a:pt x="181632" y="43053"/>
                  <a:pt x="181632" y="38862"/>
                </a:cubicBezTo>
                <a:cubicBezTo>
                  <a:pt x="181632" y="35738"/>
                  <a:pt x="179194" y="33757"/>
                  <a:pt x="174774" y="32918"/>
                </a:cubicBezTo>
                <a:lnTo>
                  <a:pt x="167078" y="31471"/>
                </a:lnTo>
                <a:cubicBezTo>
                  <a:pt x="158010" y="29947"/>
                  <a:pt x="151686" y="24841"/>
                  <a:pt x="151686" y="16078"/>
                </a:cubicBezTo>
                <a:cubicBezTo>
                  <a:pt x="151686" y="5105"/>
                  <a:pt x="161820" y="0"/>
                  <a:pt x="172031" y="0"/>
                </a:cubicBezTo>
                <a:close/>
              </a:path>
            </a:pathLst>
          </a:custGeom>
          <a:solidFill>
            <a:srgbClr val="002B45"/>
          </a:solidFill>
          <a:ln w="9525" cap="flat">
            <a:noFill/>
            <a:prstDash val="solid"/>
            <a:miter/>
          </a:ln>
        </p:spPr>
        <p:txBody>
          <a:bodyPr rtlCol="0" anchor="ctr"/>
          <a:lstStyle/>
          <a:p>
            <a:endParaRPr lang="en-GB"/>
          </a:p>
        </p:txBody>
      </p:sp>
    </p:spTree>
    <p:extLst>
      <p:ext uri="{BB962C8B-B14F-4D97-AF65-F5344CB8AC3E}">
        <p14:creationId xmlns:p14="http://schemas.microsoft.com/office/powerpoint/2010/main" val="305994381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ps and Tricks">
    <p:spTree>
      <p:nvGrpSpPr>
        <p:cNvPr id="1" name=""/>
        <p:cNvGrpSpPr/>
        <p:nvPr/>
      </p:nvGrpSpPr>
      <p:grpSpPr>
        <a:xfrm>
          <a:off x="0" y="0"/>
          <a:ext cx="0" cy="0"/>
          <a:chOff x="0" y="0"/>
          <a:chExt cx="0" cy="0"/>
        </a:xfrm>
      </p:grpSpPr>
      <p:sp>
        <p:nvSpPr>
          <p:cNvPr id="9" name="Fast overskrift"/>
          <p:cNvSpPr txBox="1"/>
          <p:nvPr userDrawn="1"/>
        </p:nvSpPr>
        <p:spPr>
          <a:xfrm>
            <a:off x="269876" y="269875"/>
            <a:ext cx="11379198" cy="829009"/>
          </a:xfrm>
          <a:prstGeom prst="rect">
            <a:avLst/>
          </a:prstGeom>
          <a:noFill/>
        </p:spPr>
        <p:txBody>
          <a:bodyPr wrap="square" lIns="0" tIns="0" rIns="0" bIns="0" rtlCol="0" anchor="t" anchorCtr="0">
            <a:noAutofit/>
          </a:bodyPr>
          <a:lstStyle/>
          <a:p>
            <a:r>
              <a:rPr lang="en-US" sz="3200" b="0" noProof="1">
                <a:solidFill>
                  <a:schemeClr val="tx2"/>
                </a:solidFill>
                <a:latin typeface="+mj-lt"/>
                <a:cs typeface="DFDS Sans" panose="00000500000000000000" pitchFamily="2" charset="0"/>
              </a:rPr>
              <a:t>Good Tips – Creating a DFDS Powerpoint Presentation</a:t>
            </a:r>
            <a:endParaRPr lang="en-GB" sz="3200" b="0" noProof="1">
              <a:solidFill>
                <a:schemeClr val="tx2"/>
              </a:solidFill>
              <a:latin typeface="+mj-lt"/>
              <a:cs typeface="DFDS Sans" panose="00000500000000000000" pitchFamily="2" charset="0"/>
            </a:endParaRPr>
          </a:p>
        </p:txBody>
      </p:sp>
      <p:sp>
        <p:nvSpPr>
          <p:cNvPr id="13" name="Text Box 2">
            <a:extLst>
              <a:ext uri="{FF2B5EF4-FFF2-40B4-BE49-F238E27FC236}">
                <a16:creationId xmlns:a16="http://schemas.microsoft.com/office/drawing/2014/main" id="{0BB3B459-CDFE-44C8-879C-511BDE5A64B2}"/>
              </a:ext>
            </a:extLst>
          </p:cNvPr>
          <p:cNvSpPr txBox="1">
            <a:spLocks noChangeArrowheads="1"/>
          </p:cNvSpPr>
          <p:nvPr userDrawn="1"/>
        </p:nvSpPr>
        <p:spPr bwMode="auto">
          <a:xfrm>
            <a:off x="269875" y="1714354"/>
            <a:ext cx="5735637"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DFDS Sans" charset="0"/>
              </a:defRPr>
            </a:lvl1pPr>
            <a:lvl2pPr marL="742950" indent="-285750" eaLnBrk="0" hangingPunct="0">
              <a:defRPr>
                <a:solidFill>
                  <a:schemeClr val="tx1"/>
                </a:solidFill>
                <a:latin typeface="DFDS Sans" charset="0"/>
              </a:defRPr>
            </a:lvl2pPr>
            <a:lvl3pPr marL="1143000" indent="-228600" eaLnBrk="0" hangingPunct="0">
              <a:defRPr>
                <a:solidFill>
                  <a:schemeClr val="tx1"/>
                </a:solidFill>
                <a:latin typeface="DFDS Sans" charset="0"/>
              </a:defRPr>
            </a:lvl3pPr>
            <a:lvl4pPr marL="1600200" indent="-228600" eaLnBrk="0" hangingPunct="0">
              <a:defRPr>
                <a:solidFill>
                  <a:schemeClr val="tx1"/>
                </a:solidFill>
                <a:latin typeface="DFDS Sans" charset="0"/>
              </a:defRPr>
            </a:lvl4pPr>
            <a:lvl5pPr marL="2057400" indent="-228600" eaLnBrk="0" hangingPunct="0">
              <a:defRPr>
                <a:solidFill>
                  <a:schemeClr val="tx1"/>
                </a:solidFill>
                <a:latin typeface="DFDS Sans" charset="0"/>
              </a:defRPr>
            </a:lvl5pPr>
            <a:lvl6pPr marL="2514600" indent="-228600" eaLnBrk="0" fontAlgn="base" hangingPunct="0">
              <a:spcBef>
                <a:spcPct val="0"/>
              </a:spcBef>
              <a:spcAft>
                <a:spcPct val="0"/>
              </a:spcAft>
              <a:defRPr>
                <a:solidFill>
                  <a:schemeClr val="tx1"/>
                </a:solidFill>
                <a:latin typeface="DFDS Sans" charset="0"/>
              </a:defRPr>
            </a:lvl6pPr>
            <a:lvl7pPr marL="2971800" indent="-228600" eaLnBrk="0" fontAlgn="base" hangingPunct="0">
              <a:spcBef>
                <a:spcPct val="0"/>
              </a:spcBef>
              <a:spcAft>
                <a:spcPct val="0"/>
              </a:spcAft>
              <a:defRPr>
                <a:solidFill>
                  <a:schemeClr val="tx1"/>
                </a:solidFill>
                <a:latin typeface="DFDS Sans" charset="0"/>
              </a:defRPr>
            </a:lvl7pPr>
            <a:lvl8pPr marL="3429000" indent="-228600" eaLnBrk="0" fontAlgn="base" hangingPunct="0">
              <a:spcBef>
                <a:spcPct val="0"/>
              </a:spcBef>
              <a:spcAft>
                <a:spcPct val="0"/>
              </a:spcAft>
              <a:defRPr>
                <a:solidFill>
                  <a:schemeClr val="tx1"/>
                </a:solidFill>
                <a:latin typeface="DFDS Sans" charset="0"/>
              </a:defRPr>
            </a:lvl8pPr>
            <a:lvl9pPr marL="3886200" indent="-228600" eaLnBrk="0" fontAlgn="base" hangingPunct="0">
              <a:spcBef>
                <a:spcPct val="0"/>
              </a:spcBef>
              <a:spcAft>
                <a:spcPct val="0"/>
              </a:spcAft>
              <a:defRPr>
                <a:solidFill>
                  <a:schemeClr val="tx1"/>
                </a:solidFill>
                <a:latin typeface="DFDS Sans"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200" b="1" i="0" u="none" strike="noStrike" kern="1200" cap="none" spc="0" normalizeH="0" baseline="0" noProof="0">
                <a:ln>
                  <a:noFill/>
                </a:ln>
                <a:solidFill>
                  <a:srgbClr val="002B45"/>
                </a:solidFill>
                <a:effectLst/>
                <a:uLnTx/>
                <a:uFillTx/>
                <a:latin typeface="DFDS Sans"/>
                <a:ea typeface="+mn-ea"/>
                <a:cs typeface="+mn-cs"/>
              </a:rPr>
              <a:t>Keep it Simple</a:t>
            </a:r>
            <a:br>
              <a:rPr kumimoji="0" lang="en-GB" sz="1200" b="0" i="0" u="none" strike="noStrike" kern="1200" cap="none" spc="0" normalizeH="0" baseline="0" noProof="0">
                <a:ln>
                  <a:noFill/>
                </a:ln>
                <a:solidFill>
                  <a:srgbClr val="002B45"/>
                </a:solidFill>
                <a:effectLst/>
                <a:uLnTx/>
                <a:uFillTx/>
                <a:latin typeface="DFDS Sans"/>
                <a:ea typeface="+mn-ea"/>
                <a:cs typeface="+mn-cs"/>
              </a:rPr>
            </a:br>
            <a:r>
              <a:rPr kumimoji="0" lang="en-US" sz="1200" b="0" i="0" u="none" strike="noStrike" kern="1200" cap="none" spc="0" normalizeH="0" baseline="0" noProof="0">
                <a:ln>
                  <a:noFill/>
                </a:ln>
                <a:solidFill>
                  <a:srgbClr val="002B45"/>
                </a:solidFill>
                <a:effectLst/>
                <a:uLnTx/>
                <a:uFillTx/>
                <a:latin typeface="DFDS Sans"/>
                <a:ea typeface="+mn-ea"/>
                <a:cs typeface="+mn-cs"/>
              </a:rPr>
              <a:t>When creating a presentation remember to keep it simple and light – this means we want to steer clear of filling up the slides too much. Make room for (white) space. Keeping your slides simple and to the point will also make the messaging more clear. Less is more.</a:t>
            </a:r>
            <a:endParaRPr kumimoji="0" lang="en-GB" sz="1200" b="0" i="0" u="none" strike="noStrike" kern="1200" cap="none" spc="0" normalizeH="0" baseline="0" noProof="1">
              <a:ln>
                <a:noFill/>
              </a:ln>
              <a:solidFill>
                <a:srgbClr val="002B45"/>
              </a:solidFill>
              <a:effectLst/>
              <a:uLnTx/>
              <a:uFillTx/>
              <a:latin typeface="DFDS Sans"/>
              <a:ea typeface="+mn-ea"/>
              <a:cs typeface="DFDS Sans" panose="00000500000000000000" pitchFamily="2" charset="0"/>
            </a:endParaRPr>
          </a:p>
        </p:txBody>
      </p:sp>
      <p:sp>
        <p:nvSpPr>
          <p:cNvPr id="20" name="Date Placeholder 6" hidden="1">
            <a:extLst>
              <a:ext uri="{FF2B5EF4-FFF2-40B4-BE49-F238E27FC236}">
                <a16:creationId xmlns:a16="http://schemas.microsoft.com/office/drawing/2014/main" id="{C8F77785-DAC9-4046-8A82-0AC407341173}"/>
              </a:ext>
            </a:extLst>
          </p:cNvPr>
          <p:cNvSpPr>
            <a:spLocks noGrp="1"/>
          </p:cNvSpPr>
          <p:nvPr>
            <p:ph type="dt" sz="half" idx="15"/>
          </p:nvPr>
        </p:nvSpPr>
        <p:spPr>
          <a:xfrm>
            <a:off x="0" y="6858000"/>
            <a:ext cx="0" cy="0"/>
          </a:xfrm>
          <a:prstGeom prst="rect">
            <a:avLst/>
          </a:prstGeom>
        </p:spPr>
        <p:txBody>
          <a:bodyPr/>
          <a:lstStyle>
            <a:lvl1pPr>
              <a:defRPr sz="100">
                <a:noFill/>
              </a:defRPr>
            </a:lvl1pPr>
          </a:lstStyle>
          <a:p>
            <a:fld id="{A84E979D-AA0C-4D6E-9542-B5516F0B3D9A}" type="datetime4">
              <a:rPr lang="en-GB" smtClean="0"/>
              <a:t>20 February 2025</a:t>
            </a:fld>
            <a:endParaRPr lang="en-GB"/>
          </a:p>
        </p:txBody>
      </p:sp>
      <p:sp>
        <p:nvSpPr>
          <p:cNvPr id="21" name="Footer Placeholder 8" hidden="1">
            <a:extLst>
              <a:ext uri="{FF2B5EF4-FFF2-40B4-BE49-F238E27FC236}">
                <a16:creationId xmlns:a16="http://schemas.microsoft.com/office/drawing/2014/main" id="{9675D1FD-FB10-4317-AAF4-BDCB2224F107}"/>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23" name="Slide Number Placeholder 10" hidden="1">
            <a:extLst>
              <a:ext uri="{FF2B5EF4-FFF2-40B4-BE49-F238E27FC236}">
                <a16:creationId xmlns:a16="http://schemas.microsoft.com/office/drawing/2014/main" id="{BBF7E881-962B-4385-8C0A-994D3D7717F3}"/>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2" name="Text Box 2">
            <a:extLst>
              <a:ext uri="{FF2B5EF4-FFF2-40B4-BE49-F238E27FC236}">
                <a16:creationId xmlns:a16="http://schemas.microsoft.com/office/drawing/2014/main" id="{6928AFF7-0735-F3ED-D606-95270545F03B}"/>
              </a:ext>
            </a:extLst>
          </p:cNvPr>
          <p:cNvSpPr txBox="1">
            <a:spLocks noChangeArrowheads="1"/>
          </p:cNvSpPr>
          <p:nvPr userDrawn="1"/>
        </p:nvSpPr>
        <p:spPr bwMode="auto">
          <a:xfrm>
            <a:off x="269876" y="3152001"/>
            <a:ext cx="5735637"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DFDS Sans" charset="0"/>
              </a:defRPr>
            </a:lvl1pPr>
            <a:lvl2pPr marL="742950" indent="-285750" eaLnBrk="0" hangingPunct="0">
              <a:defRPr>
                <a:solidFill>
                  <a:schemeClr val="tx1"/>
                </a:solidFill>
                <a:latin typeface="DFDS Sans" charset="0"/>
              </a:defRPr>
            </a:lvl2pPr>
            <a:lvl3pPr marL="1143000" indent="-228600" eaLnBrk="0" hangingPunct="0">
              <a:defRPr>
                <a:solidFill>
                  <a:schemeClr val="tx1"/>
                </a:solidFill>
                <a:latin typeface="DFDS Sans" charset="0"/>
              </a:defRPr>
            </a:lvl3pPr>
            <a:lvl4pPr marL="1600200" indent="-228600" eaLnBrk="0" hangingPunct="0">
              <a:defRPr>
                <a:solidFill>
                  <a:schemeClr val="tx1"/>
                </a:solidFill>
                <a:latin typeface="DFDS Sans" charset="0"/>
              </a:defRPr>
            </a:lvl4pPr>
            <a:lvl5pPr marL="2057400" indent="-228600" eaLnBrk="0" hangingPunct="0">
              <a:defRPr>
                <a:solidFill>
                  <a:schemeClr val="tx1"/>
                </a:solidFill>
                <a:latin typeface="DFDS Sans" charset="0"/>
              </a:defRPr>
            </a:lvl5pPr>
            <a:lvl6pPr marL="2514600" indent="-228600" eaLnBrk="0" fontAlgn="base" hangingPunct="0">
              <a:spcBef>
                <a:spcPct val="0"/>
              </a:spcBef>
              <a:spcAft>
                <a:spcPct val="0"/>
              </a:spcAft>
              <a:defRPr>
                <a:solidFill>
                  <a:schemeClr val="tx1"/>
                </a:solidFill>
                <a:latin typeface="DFDS Sans" charset="0"/>
              </a:defRPr>
            </a:lvl6pPr>
            <a:lvl7pPr marL="2971800" indent="-228600" eaLnBrk="0" fontAlgn="base" hangingPunct="0">
              <a:spcBef>
                <a:spcPct val="0"/>
              </a:spcBef>
              <a:spcAft>
                <a:spcPct val="0"/>
              </a:spcAft>
              <a:defRPr>
                <a:solidFill>
                  <a:schemeClr val="tx1"/>
                </a:solidFill>
                <a:latin typeface="DFDS Sans" charset="0"/>
              </a:defRPr>
            </a:lvl7pPr>
            <a:lvl8pPr marL="3429000" indent="-228600" eaLnBrk="0" fontAlgn="base" hangingPunct="0">
              <a:spcBef>
                <a:spcPct val="0"/>
              </a:spcBef>
              <a:spcAft>
                <a:spcPct val="0"/>
              </a:spcAft>
              <a:defRPr>
                <a:solidFill>
                  <a:schemeClr val="tx1"/>
                </a:solidFill>
                <a:latin typeface="DFDS Sans" charset="0"/>
              </a:defRPr>
            </a:lvl8pPr>
            <a:lvl9pPr marL="3886200" indent="-228600" eaLnBrk="0" fontAlgn="base" hangingPunct="0">
              <a:spcBef>
                <a:spcPct val="0"/>
              </a:spcBef>
              <a:spcAft>
                <a:spcPct val="0"/>
              </a:spcAft>
              <a:defRPr>
                <a:solidFill>
                  <a:schemeClr val="tx1"/>
                </a:solidFill>
                <a:latin typeface="DFDS Sans"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200" b="1" i="0" u="none" strike="noStrike" kern="1200" cap="none" spc="0" normalizeH="0" baseline="0" noProof="0">
                <a:ln>
                  <a:noFill/>
                </a:ln>
                <a:solidFill>
                  <a:srgbClr val="002B45"/>
                </a:solidFill>
                <a:effectLst/>
                <a:uLnTx/>
                <a:uFillTx/>
                <a:latin typeface="DFDS Sans"/>
                <a:ea typeface="+mn-ea"/>
                <a:cs typeface="+mn-cs"/>
              </a:rPr>
              <a:t>Write Short and Precise Text</a:t>
            </a:r>
            <a:br>
              <a:rPr kumimoji="0" lang="en-GB" sz="1200" b="0" i="0" u="none" strike="noStrike" kern="1200" cap="none" spc="0" normalizeH="0" baseline="0" noProof="0">
                <a:ln>
                  <a:noFill/>
                </a:ln>
                <a:solidFill>
                  <a:srgbClr val="002B45"/>
                </a:solidFill>
                <a:effectLst/>
                <a:uLnTx/>
                <a:uFillTx/>
                <a:latin typeface="DFDS Sans"/>
                <a:ea typeface="+mn-ea"/>
                <a:cs typeface="+mn-cs"/>
              </a:rPr>
            </a:br>
            <a:r>
              <a:rPr kumimoji="0" lang="en-US" sz="1200" b="0" i="0" u="none" strike="noStrike" kern="1200" cap="none" spc="0" normalizeH="0" baseline="0" noProof="0">
                <a:ln>
                  <a:noFill/>
                </a:ln>
                <a:solidFill>
                  <a:srgbClr val="002B45"/>
                </a:solidFill>
                <a:effectLst/>
                <a:uLnTx/>
                <a:uFillTx/>
                <a:latin typeface="DFDS Sans"/>
                <a:ea typeface="+mn-ea"/>
                <a:cs typeface="+mn-cs"/>
              </a:rPr>
              <a:t>Try to keep your texts short, and when possible use bullet points to make your points clear. The more precise you can be in your content, the easier it is for the viewer to understand the message and story you want to tell.</a:t>
            </a:r>
            <a:endParaRPr kumimoji="0" lang="en-GB" sz="1200" b="0" i="0" u="none" strike="noStrike" kern="1200" cap="none" spc="0" normalizeH="0" baseline="0" noProof="1">
              <a:ln>
                <a:noFill/>
              </a:ln>
              <a:solidFill>
                <a:srgbClr val="002B45"/>
              </a:solidFill>
              <a:effectLst/>
              <a:uLnTx/>
              <a:uFillTx/>
              <a:latin typeface="DFDS Sans"/>
              <a:ea typeface="+mn-ea"/>
              <a:cs typeface="DFDS Sans" panose="00000500000000000000" pitchFamily="2" charset="0"/>
            </a:endParaRPr>
          </a:p>
        </p:txBody>
      </p:sp>
      <p:sp>
        <p:nvSpPr>
          <p:cNvPr id="3" name="Text Box 2">
            <a:extLst>
              <a:ext uri="{FF2B5EF4-FFF2-40B4-BE49-F238E27FC236}">
                <a16:creationId xmlns:a16="http://schemas.microsoft.com/office/drawing/2014/main" id="{8388BDA1-31AB-92B0-E026-ED0BD9E7E37A}"/>
              </a:ext>
            </a:extLst>
          </p:cNvPr>
          <p:cNvSpPr txBox="1">
            <a:spLocks noChangeArrowheads="1"/>
          </p:cNvSpPr>
          <p:nvPr userDrawn="1"/>
        </p:nvSpPr>
        <p:spPr bwMode="auto">
          <a:xfrm>
            <a:off x="269874" y="4589649"/>
            <a:ext cx="5735637"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DFDS Sans" charset="0"/>
              </a:defRPr>
            </a:lvl1pPr>
            <a:lvl2pPr marL="742950" indent="-285750" eaLnBrk="0" hangingPunct="0">
              <a:defRPr>
                <a:solidFill>
                  <a:schemeClr val="tx1"/>
                </a:solidFill>
                <a:latin typeface="DFDS Sans" charset="0"/>
              </a:defRPr>
            </a:lvl2pPr>
            <a:lvl3pPr marL="1143000" indent="-228600" eaLnBrk="0" hangingPunct="0">
              <a:defRPr>
                <a:solidFill>
                  <a:schemeClr val="tx1"/>
                </a:solidFill>
                <a:latin typeface="DFDS Sans" charset="0"/>
              </a:defRPr>
            </a:lvl3pPr>
            <a:lvl4pPr marL="1600200" indent="-228600" eaLnBrk="0" hangingPunct="0">
              <a:defRPr>
                <a:solidFill>
                  <a:schemeClr val="tx1"/>
                </a:solidFill>
                <a:latin typeface="DFDS Sans" charset="0"/>
              </a:defRPr>
            </a:lvl4pPr>
            <a:lvl5pPr marL="2057400" indent="-228600" eaLnBrk="0" hangingPunct="0">
              <a:defRPr>
                <a:solidFill>
                  <a:schemeClr val="tx1"/>
                </a:solidFill>
                <a:latin typeface="DFDS Sans" charset="0"/>
              </a:defRPr>
            </a:lvl5pPr>
            <a:lvl6pPr marL="2514600" indent="-228600" eaLnBrk="0" fontAlgn="base" hangingPunct="0">
              <a:spcBef>
                <a:spcPct val="0"/>
              </a:spcBef>
              <a:spcAft>
                <a:spcPct val="0"/>
              </a:spcAft>
              <a:defRPr>
                <a:solidFill>
                  <a:schemeClr val="tx1"/>
                </a:solidFill>
                <a:latin typeface="DFDS Sans" charset="0"/>
              </a:defRPr>
            </a:lvl6pPr>
            <a:lvl7pPr marL="2971800" indent="-228600" eaLnBrk="0" fontAlgn="base" hangingPunct="0">
              <a:spcBef>
                <a:spcPct val="0"/>
              </a:spcBef>
              <a:spcAft>
                <a:spcPct val="0"/>
              </a:spcAft>
              <a:defRPr>
                <a:solidFill>
                  <a:schemeClr val="tx1"/>
                </a:solidFill>
                <a:latin typeface="DFDS Sans" charset="0"/>
              </a:defRPr>
            </a:lvl7pPr>
            <a:lvl8pPr marL="3429000" indent="-228600" eaLnBrk="0" fontAlgn="base" hangingPunct="0">
              <a:spcBef>
                <a:spcPct val="0"/>
              </a:spcBef>
              <a:spcAft>
                <a:spcPct val="0"/>
              </a:spcAft>
              <a:defRPr>
                <a:solidFill>
                  <a:schemeClr val="tx1"/>
                </a:solidFill>
                <a:latin typeface="DFDS Sans" charset="0"/>
              </a:defRPr>
            </a:lvl8pPr>
            <a:lvl9pPr marL="3886200" indent="-228600" eaLnBrk="0" fontAlgn="base" hangingPunct="0">
              <a:spcBef>
                <a:spcPct val="0"/>
              </a:spcBef>
              <a:spcAft>
                <a:spcPct val="0"/>
              </a:spcAft>
              <a:defRPr>
                <a:solidFill>
                  <a:schemeClr val="tx1"/>
                </a:solidFill>
                <a:latin typeface="DFDS Sans"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200" b="1" i="0" u="none" strike="noStrike" kern="1200" cap="none" spc="0" normalizeH="0" baseline="0" noProof="0">
                <a:ln>
                  <a:noFill/>
                </a:ln>
                <a:solidFill>
                  <a:srgbClr val="002B45"/>
                </a:solidFill>
                <a:effectLst/>
                <a:uLnTx/>
                <a:uFillTx/>
                <a:latin typeface="DFDS Sans"/>
                <a:ea typeface="+mn-ea"/>
                <a:cs typeface="+mn-cs"/>
              </a:rPr>
              <a:t>Create Easy &amp; Simple Slides</a:t>
            </a:r>
            <a:br>
              <a:rPr kumimoji="0" lang="en-GB" sz="1200" b="1" i="0" u="none" strike="noStrike" kern="1200" cap="none" spc="0" normalizeH="0" baseline="0" noProof="0">
                <a:ln>
                  <a:noFill/>
                </a:ln>
                <a:solidFill>
                  <a:srgbClr val="002B45"/>
                </a:solidFill>
                <a:effectLst/>
                <a:uLnTx/>
                <a:uFillTx/>
                <a:latin typeface="DFDS Sans"/>
                <a:ea typeface="+mn-ea"/>
                <a:cs typeface="+mn-cs"/>
              </a:rPr>
            </a:br>
            <a:r>
              <a:rPr kumimoji="0" lang="en-US" sz="1200" b="0" i="0" u="none" strike="noStrike" kern="1200" cap="none" spc="0" normalizeH="0" baseline="0" noProof="0">
                <a:ln>
                  <a:noFill/>
                </a:ln>
                <a:solidFill>
                  <a:srgbClr val="002B45"/>
                </a:solidFill>
                <a:effectLst/>
                <a:uLnTx/>
                <a:uFillTx/>
                <a:latin typeface="DFDS Sans"/>
                <a:ea typeface="+mn-ea"/>
                <a:cs typeface="+mn-cs"/>
              </a:rPr>
              <a:t>10 Slides with 10 Messages is Better than One Slide with 10 Messages. Adding a lot of text to one pages to minimize the amount of slides, doesn’t make the presentation less heavy. Quite the reverse – dividing the text into several slides will make the presentation feel more clear and less heavy.</a:t>
            </a:r>
            <a:endParaRPr kumimoji="0" lang="en-GB" sz="1200" b="0" i="0" u="none" strike="noStrike" kern="1200" cap="none" spc="0" normalizeH="0" baseline="0" noProof="1">
              <a:ln>
                <a:noFill/>
              </a:ln>
              <a:solidFill>
                <a:srgbClr val="002B45"/>
              </a:solidFill>
              <a:effectLst/>
              <a:uLnTx/>
              <a:uFillTx/>
              <a:latin typeface="DFDS Sans"/>
              <a:ea typeface="+mn-ea"/>
              <a:cs typeface="DFDS Sans" panose="00000500000000000000" pitchFamily="2" charset="0"/>
            </a:endParaRPr>
          </a:p>
        </p:txBody>
      </p:sp>
      <p:sp>
        <p:nvSpPr>
          <p:cNvPr id="4" name="Text Box 2">
            <a:extLst>
              <a:ext uri="{FF2B5EF4-FFF2-40B4-BE49-F238E27FC236}">
                <a16:creationId xmlns:a16="http://schemas.microsoft.com/office/drawing/2014/main" id="{C489FD77-B245-EE9C-8273-8BC590DC98C0}"/>
              </a:ext>
            </a:extLst>
          </p:cNvPr>
          <p:cNvSpPr txBox="1">
            <a:spLocks noChangeArrowheads="1"/>
          </p:cNvSpPr>
          <p:nvPr userDrawn="1"/>
        </p:nvSpPr>
        <p:spPr bwMode="auto">
          <a:xfrm>
            <a:off x="6186490" y="1714354"/>
            <a:ext cx="5735637"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DFDS Sans" charset="0"/>
              </a:defRPr>
            </a:lvl1pPr>
            <a:lvl2pPr marL="742950" indent="-285750" eaLnBrk="0" hangingPunct="0">
              <a:defRPr>
                <a:solidFill>
                  <a:schemeClr val="tx1"/>
                </a:solidFill>
                <a:latin typeface="DFDS Sans" charset="0"/>
              </a:defRPr>
            </a:lvl2pPr>
            <a:lvl3pPr marL="1143000" indent="-228600" eaLnBrk="0" hangingPunct="0">
              <a:defRPr>
                <a:solidFill>
                  <a:schemeClr val="tx1"/>
                </a:solidFill>
                <a:latin typeface="DFDS Sans" charset="0"/>
              </a:defRPr>
            </a:lvl3pPr>
            <a:lvl4pPr marL="1600200" indent="-228600" eaLnBrk="0" hangingPunct="0">
              <a:defRPr>
                <a:solidFill>
                  <a:schemeClr val="tx1"/>
                </a:solidFill>
                <a:latin typeface="DFDS Sans" charset="0"/>
              </a:defRPr>
            </a:lvl4pPr>
            <a:lvl5pPr marL="2057400" indent="-228600" eaLnBrk="0" hangingPunct="0">
              <a:defRPr>
                <a:solidFill>
                  <a:schemeClr val="tx1"/>
                </a:solidFill>
                <a:latin typeface="DFDS Sans" charset="0"/>
              </a:defRPr>
            </a:lvl5pPr>
            <a:lvl6pPr marL="2514600" indent="-228600" eaLnBrk="0" fontAlgn="base" hangingPunct="0">
              <a:spcBef>
                <a:spcPct val="0"/>
              </a:spcBef>
              <a:spcAft>
                <a:spcPct val="0"/>
              </a:spcAft>
              <a:defRPr>
                <a:solidFill>
                  <a:schemeClr val="tx1"/>
                </a:solidFill>
                <a:latin typeface="DFDS Sans" charset="0"/>
              </a:defRPr>
            </a:lvl6pPr>
            <a:lvl7pPr marL="2971800" indent="-228600" eaLnBrk="0" fontAlgn="base" hangingPunct="0">
              <a:spcBef>
                <a:spcPct val="0"/>
              </a:spcBef>
              <a:spcAft>
                <a:spcPct val="0"/>
              </a:spcAft>
              <a:defRPr>
                <a:solidFill>
                  <a:schemeClr val="tx1"/>
                </a:solidFill>
                <a:latin typeface="DFDS Sans" charset="0"/>
              </a:defRPr>
            </a:lvl7pPr>
            <a:lvl8pPr marL="3429000" indent="-228600" eaLnBrk="0" fontAlgn="base" hangingPunct="0">
              <a:spcBef>
                <a:spcPct val="0"/>
              </a:spcBef>
              <a:spcAft>
                <a:spcPct val="0"/>
              </a:spcAft>
              <a:defRPr>
                <a:solidFill>
                  <a:schemeClr val="tx1"/>
                </a:solidFill>
                <a:latin typeface="DFDS Sans" charset="0"/>
              </a:defRPr>
            </a:lvl8pPr>
            <a:lvl9pPr marL="3886200" indent="-228600" eaLnBrk="0" fontAlgn="base" hangingPunct="0">
              <a:spcBef>
                <a:spcPct val="0"/>
              </a:spcBef>
              <a:spcAft>
                <a:spcPct val="0"/>
              </a:spcAft>
              <a:defRPr>
                <a:solidFill>
                  <a:schemeClr val="tx1"/>
                </a:solidFill>
                <a:latin typeface="DFDS Sans"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200" b="1" i="0" u="none" strike="noStrike" kern="1200" cap="none" spc="0" normalizeH="0" baseline="0" noProof="0">
                <a:ln>
                  <a:noFill/>
                </a:ln>
                <a:solidFill>
                  <a:srgbClr val="002B45"/>
                </a:solidFill>
                <a:effectLst/>
                <a:uLnTx/>
                <a:uFillTx/>
                <a:latin typeface="DFDS Sans"/>
                <a:ea typeface="+mn-ea"/>
                <a:cs typeface="+mn-cs"/>
              </a:rPr>
              <a:t>Use Images &amp; Video to Support your Content</a:t>
            </a:r>
            <a:br>
              <a:rPr kumimoji="0" lang="en-GB" sz="1200" b="1" i="0" u="none" strike="noStrike" kern="1200" cap="none" spc="0" normalizeH="0" baseline="0" noProof="0">
                <a:ln>
                  <a:noFill/>
                </a:ln>
                <a:solidFill>
                  <a:srgbClr val="002B45"/>
                </a:solidFill>
                <a:effectLst/>
                <a:uLnTx/>
                <a:uFillTx/>
                <a:latin typeface="DFDS Sans"/>
                <a:ea typeface="+mn-ea"/>
                <a:cs typeface="+mn-cs"/>
              </a:rPr>
            </a:br>
            <a:r>
              <a:rPr kumimoji="0" lang="en-US" sz="1200" b="0" i="0" u="none" strike="noStrike" kern="1200" cap="none" spc="0" normalizeH="0" baseline="0" noProof="0">
                <a:ln>
                  <a:noFill/>
                </a:ln>
                <a:solidFill>
                  <a:srgbClr val="002B45"/>
                </a:solidFill>
                <a:effectLst/>
                <a:uLnTx/>
                <a:uFillTx/>
                <a:latin typeface="DFDS Sans"/>
                <a:ea typeface="+mn-ea"/>
                <a:cs typeface="+mn-cs"/>
              </a:rPr>
              <a:t>In a presentation, images and video play an important role – they support the message you want to tell and often tell it better than a lot of words. Therefore, use images and video as a key element in your presentations rather than creating text heavy slides.</a:t>
            </a:r>
            <a:endParaRPr kumimoji="0" lang="en-GB" sz="1200" b="0" i="0" u="none" strike="noStrike" kern="1200" cap="none" spc="0" normalizeH="0" baseline="0" noProof="1">
              <a:ln>
                <a:noFill/>
              </a:ln>
              <a:solidFill>
                <a:srgbClr val="002B45"/>
              </a:solidFill>
              <a:effectLst/>
              <a:uLnTx/>
              <a:uFillTx/>
              <a:latin typeface="DFDS Sans"/>
              <a:ea typeface="+mn-ea"/>
              <a:cs typeface="DFDS Sans" panose="00000500000000000000" pitchFamily="2" charset="0"/>
            </a:endParaRPr>
          </a:p>
        </p:txBody>
      </p:sp>
      <p:sp>
        <p:nvSpPr>
          <p:cNvPr id="6" name="Text Box 2">
            <a:extLst>
              <a:ext uri="{FF2B5EF4-FFF2-40B4-BE49-F238E27FC236}">
                <a16:creationId xmlns:a16="http://schemas.microsoft.com/office/drawing/2014/main" id="{7AC373AD-7E34-DA0A-8FE1-EE99563AD110}"/>
              </a:ext>
            </a:extLst>
          </p:cNvPr>
          <p:cNvSpPr txBox="1">
            <a:spLocks noChangeArrowheads="1"/>
          </p:cNvSpPr>
          <p:nvPr userDrawn="1"/>
        </p:nvSpPr>
        <p:spPr bwMode="auto">
          <a:xfrm>
            <a:off x="6186489" y="3152001"/>
            <a:ext cx="5735637" cy="11079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DFDS Sans" charset="0"/>
              </a:defRPr>
            </a:lvl1pPr>
            <a:lvl2pPr marL="742950" indent="-285750" eaLnBrk="0" hangingPunct="0">
              <a:defRPr>
                <a:solidFill>
                  <a:schemeClr val="tx1"/>
                </a:solidFill>
                <a:latin typeface="DFDS Sans" charset="0"/>
              </a:defRPr>
            </a:lvl2pPr>
            <a:lvl3pPr marL="1143000" indent="-228600" eaLnBrk="0" hangingPunct="0">
              <a:defRPr>
                <a:solidFill>
                  <a:schemeClr val="tx1"/>
                </a:solidFill>
                <a:latin typeface="DFDS Sans" charset="0"/>
              </a:defRPr>
            </a:lvl3pPr>
            <a:lvl4pPr marL="1600200" indent="-228600" eaLnBrk="0" hangingPunct="0">
              <a:defRPr>
                <a:solidFill>
                  <a:schemeClr val="tx1"/>
                </a:solidFill>
                <a:latin typeface="DFDS Sans" charset="0"/>
              </a:defRPr>
            </a:lvl4pPr>
            <a:lvl5pPr marL="2057400" indent="-228600" eaLnBrk="0" hangingPunct="0">
              <a:defRPr>
                <a:solidFill>
                  <a:schemeClr val="tx1"/>
                </a:solidFill>
                <a:latin typeface="DFDS Sans" charset="0"/>
              </a:defRPr>
            </a:lvl5pPr>
            <a:lvl6pPr marL="2514600" indent="-228600" eaLnBrk="0" fontAlgn="base" hangingPunct="0">
              <a:spcBef>
                <a:spcPct val="0"/>
              </a:spcBef>
              <a:spcAft>
                <a:spcPct val="0"/>
              </a:spcAft>
              <a:defRPr>
                <a:solidFill>
                  <a:schemeClr val="tx1"/>
                </a:solidFill>
                <a:latin typeface="DFDS Sans" charset="0"/>
              </a:defRPr>
            </a:lvl6pPr>
            <a:lvl7pPr marL="2971800" indent="-228600" eaLnBrk="0" fontAlgn="base" hangingPunct="0">
              <a:spcBef>
                <a:spcPct val="0"/>
              </a:spcBef>
              <a:spcAft>
                <a:spcPct val="0"/>
              </a:spcAft>
              <a:defRPr>
                <a:solidFill>
                  <a:schemeClr val="tx1"/>
                </a:solidFill>
                <a:latin typeface="DFDS Sans" charset="0"/>
              </a:defRPr>
            </a:lvl7pPr>
            <a:lvl8pPr marL="3429000" indent="-228600" eaLnBrk="0" fontAlgn="base" hangingPunct="0">
              <a:spcBef>
                <a:spcPct val="0"/>
              </a:spcBef>
              <a:spcAft>
                <a:spcPct val="0"/>
              </a:spcAft>
              <a:defRPr>
                <a:solidFill>
                  <a:schemeClr val="tx1"/>
                </a:solidFill>
                <a:latin typeface="DFDS Sans" charset="0"/>
              </a:defRPr>
            </a:lvl8pPr>
            <a:lvl9pPr marL="3886200" indent="-228600" eaLnBrk="0" fontAlgn="base" hangingPunct="0">
              <a:spcBef>
                <a:spcPct val="0"/>
              </a:spcBef>
              <a:spcAft>
                <a:spcPct val="0"/>
              </a:spcAft>
              <a:defRPr>
                <a:solidFill>
                  <a:schemeClr val="tx1"/>
                </a:solidFill>
                <a:latin typeface="DFDS Sans"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200" b="1" i="0" u="none" strike="noStrike" kern="1200" cap="none" spc="0" normalizeH="0" baseline="0" noProof="0">
                <a:ln>
                  <a:noFill/>
                </a:ln>
                <a:solidFill>
                  <a:srgbClr val="002B45"/>
                </a:solidFill>
                <a:effectLst/>
                <a:uLnTx/>
                <a:uFillTx/>
                <a:latin typeface="DFDS Sans"/>
                <a:ea typeface="+mn-ea"/>
                <a:cs typeface="+mn-cs"/>
              </a:rPr>
              <a:t> Layouts and Inspiration Slides are here to Help</a:t>
            </a:r>
            <a:br>
              <a:rPr kumimoji="0" lang="en-GB" sz="1200" b="1" i="0" u="none" strike="noStrike" kern="1200" cap="none" spc="0" normalizeH="0" baseline="0" noProof="0">
                <a:ln>
                  <a:noFill/>
                </a:ln>
                <a:solidFill>
                  <a:srgbClr val="002B45"/>
                </a:solidFill>
                <a:effectLst/>
                <a:uLnTx/>
                <a:uFillTx/>
                <a:latin typeface="DFDS Sans"/>
                <a:ea typeface="+mn-ea"/>
                <a:cs typeface="+mn-cs"/>
              </a:rPr>
            </a:br>
            <a:r>
              <a:rPr kumimoji="0" lang="en-US" sz="1200" b="0" i="0" u="none" strike="noStrike" kern="1200" cap="none" spc="0" normalizeH="0" baseline="0" noProof="0">
                <a:ln>
                  <a:noFill/>
                </a:ln>
                <a:solidFill>
                  <a:srgbClr val="002B45"/>
                </a:solidFill>
                <a:effectLst/>
                <a:uLnTx/>
                <a:uFillTx/>
                <a:latin typeface="DFDS Sans"/>
                <a:ea typeface="+mn-ea"/>
                <a:cs typeface="+mn-cs"/>
              </a:rPr>
              <a:t>The DFDS </a:t>
            </a:r>
            <a:r>
              <a:rPr kumimoji="0" lang="en-US" sz="1200" b="0" i="0" u="none" strike="noStrike" kern="1200" cap="none" spc="0" normalizeH="0" baseline="0" noProof="0" err="1">
                <a:ln>
                  <a:noFill/>
                </a:ln>
                <a:solidFill>
                  <a:srgbClr val="002B45"/>
                </a:solidFill>
                <a:effectLst/>
                <a:uLnTx/>
                <a:uFillTx/>
                <a:latin typeface="DFDS Sans"/>
                <a:ea typeface="+mn-ea"/>
                <a:cs typeface="+mn-cs"/>
              </a:rPr>
              <a:t>Powerpoint</a:t>
            </a:r>
            <a:r>
              <a:rPr kumimoji="0" lang="en-US" sz="1200" b="0" i="0" u="none" strike="noStrike" kern="1200" cap="none" spc="0" normalizeH="0" baseline="0" noProof="0">
                <a:ln>
                  <a:noFill/>
                </a:ln>
                <a:solidFill>
                  <a:srgbClr val="002B45"/>
                </a:solidFill>
                <a:effectLst/>
                <a:uLnTx/>
                <a:uFillTx/>
                <a:latin typeface="DFDS Sans"/>
                <a:ea typeface="+mn-ea"/>
                <a:cs typeface="+mn-cs"/>
              </a:rPr>
              <a:t> template has been created to help you create good looking slides, aligned with the DFDS CVI. Use the layouts and inspiration slides as a base for when you are creating a presentation, and possibly customize it from there. In that way you will get a coherent look throughout your presentation.</a:t>
            </a:r>
            <a:endParaRPr kumimoji="0" lang="en-GB" sz="1200" b="0" i="0" u="none" strike="noStrike" kern="1200" cap="none" spc="0" normalizeH="0" baseline="0" noProof="1">
              <a:ln>
                <a:noFill/>
              </a:ln>
              <a:solidFill>
                <a:srgbClr val="002B45"/>
              </a:solidFill>
              <a:effectLst/>
              <a:uLnTx/>
              <a:uFillTx/>
              <a:latin typeface="DFDS Sans"/>
              <a:ea typeface="+mn-ea"/>
              <a:cs typeface="DFDS Sans" panose="00000500000000000000" pitchFamily="2" charset="0"/>
            </a:endParaRPr>
          </a:p>
        </p:txBody>
      </p:sp>
      <p:sp>
        <p:nvSpPr>
          <p:cNvPr id="8" name="Text Box 2">
            <a:extLst>
              <a:ext uri="{FF2B5EF4-FFF2-40B4-BE49-F238E27FC236}">
                <a16:creationId xmlns:a16="http://schemas.microsoft.com/office/drawing/2014/main" id="{9E836732-1C5B-7F3A-E87C-2D20F160CFE1}"/>
              </a:ext>
            </a:extLst>
          </p:cNvPr>
          <p:cNvSpPr txBox="1">
            <a:spLocks noChangeArrowheads="1"/>
          </p:cNvSpPr>
          <p:nvPr userDrawn="1"/>
        </p:nvSpPr>
        <p:spPr bwMode="auto">
          <a:xfrm>
            <a:off x="6184900" y="4589649"/>
            <a:ext cx="5735637" cy="11849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DFDS Sans" charset="0"/>
              </a:defRPr>
            </a:lvl1pPr>
            <a:lvl2pPr marL="742950" indent="-285750" eaLnBrk="0" hangingPunct="0">
              <a:defRPr>
                <a:solidFill>
                  <a:schemeClr val="tx1"/>
                </a:solidFill>
                <a:latin typeface="DFDS Sans" charset="0"/>
              </a:defRPr>
            </a:lvl2pPr>
            <a:lvl3pPr marL="1143000" indent="-228600" eaLnBrk="0" hangingPunct="0">
              <a:defRPr>
                <a:solidFill>
                  <a:schemeClr val="tx1"/>
                </a:solidFill>
                <a:latin typeface="DFDS Sans" charset="0"/>
              </a:defRPr>
            </a:lvl3pPr>
            <a:lvl4pPr marL="1600200" indent="-228600" eaLnBrk="0" hangingPunct="0">
              <a:defRPr>
                <a:solidFill>
                  <a:schemeClr val="tx1"/>
                </a:solidFill>
                <a:latin typeface="DFDS Sans" charset="0"/>
              </a:defRPr>
            </a:lvl4pPr>
            <a:lvl5pPr marL="2057400" indent="-228600" eaLnBrk="0" hangingPunct="0">
              <a:defRPr>
                <a:solidFill>
                  <a:schemeClr val="tx1"/>
                </a:solidFill>
                <a:latin typeface="DFDS Sans" charset="0"/>
              </a:defRPr>
            </a:lvl5pPr>
            <a:lvl6pPr marL="2514600" indent="-228600" eaLnBrk="0" fontAlgn="base" hangingPunct="0">
              <a:spcBef>
                <a:spcPct val="0"/>
              </a:spcBef>
              <a:spcAft>
                <a:spcPct val="0"/>
              </a:spcAft>
              <a:defRPr>
                <a:solidFill>
                  <a:schemeClr val="tx1"/>
                </a:solidFill>
                <a:latin typeface="DFDS Sans" charset="0"/>
              </a:defRPr>
            </a:lvl6pPr>
            <a:lvl7pPr marL="2971800" indent="-228600" eaLnBrk="0" fontAlgn="base" hangingPunct="0">
              <a:spcBef>
                <a:spcPct val="0"/>
              </a:spcBef>
              <a:spcAft>
                <a:spcPct val="0"/>
              </a:spcAft>
              <a:defRPr>
                <a:solidFill>
                  <a:schemeClr val="tx1"/>
                </a:solidFill>
                <a:latin typeface="DFDS Sans" charset="0"/>
              </a:defRPr>
            </a:lvl7pPr>
            <a:lvl8pPr marL="3429000" indent="-228600" eaLnBrk="0" fontAlgn="base" hangingPunct="0">
              <a:spcBef>
                <a:spcPct val="0"/>
              </a:spcBef>
              <a:spcAft>
                <a:spcPct val="0"/>
              </a:spcAft>
              <a:defRPr>
                <a:solidFill>
                  <a:schemeClr val="tx1"/>
                </a:solidFill>
                <a:latin typeface="DFDS Sans" charset="0"/>
              </a:defRPr>
            </a:lvl8pPr>
            <a:lvl9pPr marL="3886200" indent="-228600" eaLnBrk="0" fontAlgn="base" hangingPunct="0">
              <a:spcBef>
                <a:spcPct val="0"/>
              </a:spcBef>
              <a:spcAft>
                <a:spcPct val="0"/>
              </a:spcAft>
              <a:defRPr>
                <a:solidFill>
                  <a:schemeClr val="tx1"/>
                </a:solidFill>
                <a:latin typeface="DFDS Sans"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200" b="1" i="0" u="none" strike="noStrike" kern="1200" cap="none" spc="0" normalizeH="0" baseline="0" noProof="0">
                <a:ln>
                  <a:noFill/>
                </a:ln>
                <a:solidFill>
                  <a:srgbClr val="002B45"/>
                </a:solidFill>
                <a:effectLst/>
                <a:uLnTx/>
                <a:uFillTx/>
                <a:latin typeface="DFDS Sans"/>
                <a:ea typeface="+mn-ea"/>
                <a:cs typeface="+mn-cs"/>
              </a:rPr>
              <a:t>4 Colours &amp; White Space</a:t>
            </a:r>
            <a:br>
              <a:rPr kumimoji="0" lang="en-GB" sz="1200" b="1" i="0" u="none" strike="noStrike" kern="1200" cap="none" spc="0" normalizeH="0" baseline="0" noProof="0">
                <a:ln>
                  <a:noFill/>
                </a:ln>
                <a:solidFill>
                  <a:srgbClr val="002B45"/>
                </a:solidFill>
                <a:effectLst/>
                <a:uLnTx/>
                <a:uFillTx/>
                <a:latin typeface="DFDS Sans"/>
                <a:ea typeface="+mn-ea"/>
                <a:cs typeface="+mn-cs"/>
              </a:rPr>
            </a:br>
            <a:r>
              <a:rPr kumimoji="0" lang="en-US" sz="1200" b="0" i="0" u="none" strike="noStrike" kern="1200" cap="none" spc="0" normalizeH="0" baseline="0" noProof="0">
                <a:ln>
                  <a:noFill/>
                </a:ln>
                <a:solidFill>
                  <a:srgbClr val="002B45"/>
                </a:solidFill>
                <a:effectLst/>
                <a:uLnTx/>
                <a:uFillTx/>
                <a:latin typeface="DFDS Sans"/>
                <a:ea typeface="+mn-ea"/>
                <a:cs typeface="+mn-cs"/>
              </a:rPr>
              <a:t>It is recommended that you only use a maximum of 4 </a:t>
            </a:r>
            <a:r>
              <a:rPr kumimoji="0" lang="en-US" sz="1200" b="0" i="0" u="none" strike="noStrike" kern="1200" cap="none" spc="0" normalizeH="0" baseline="0" noProof="0" err="1">
                <a:ln>
                  <a:noFill/>
                </a:ln>
                <a:solidFill>
                  <a:srgbClr val="002B45"/>
                </a:solidFill>
                <a:effectLst/>
                <a:uLnTx/>
                <a:uFillTx/>
                <a:latin typeface="DFDS Sans"/>
                <a:ea typeface="+mn-ea"/>
                <a:cs typeface="+mn-cs"/>
              </a:rPr>
              <a:t>colours</a:t>
            </a:r>
            <a:r>
              <a:rPr kumimoji="0" lang="en-US" sz="1200" b="0" i="0" u="none" strike="noStrike" kern="1200" cap="none" spc="0" normalizeH="0" baseline="0" noProof="0">
                <a:ln>
                  <a:noFill/>
                </a:ln>
                <a:solidFill>
                  <a:srgbClr val="002B45"/>
                </a:solidFill>
                <a:effectLst/>
                <a:uLnTx/>
                <a:uFillTx/>
                <a:latin typeface="DFDS Sans"/>
                <a:ea typeface="+mn-ea"/>
                <a:cs typeface="+mn-cs"/>
              </a:rPr>
              <a:t> when creating slides (white not included). Always use an element of white to keep the slides light. Secondary </a:t>
            </a:r>
            <a:r>
              <a:rPr kumimoji="0" lang="en-US" sz="1200" b="0" i="0" u="none" strike="noStrike" kern="1200" cap="none" spc="0" normalizeH="0" baseline="0" noProof="0" err="1">
                <a:ln>
                  <a:noFill/>
                </a:ln>
                <a:solidFill>
                  <a:srgbClr val="002B45"/>
                </a:solidFill>
                <a:effectLst/>
                <a:uLnTx/>
                <a:uFillTx/>
                <a:latin typeface="DFDS Sans"/>
                <a:ea typeface="+mn-ea"/>
                <a:cs typeface="+mn-cs"/>
              </a:rPr>
              <a:t>colours</a:t>
            </a:r>
            <a:r>
              <a:rPr kumimoji="0" lang="en-US" sz="1200" b="0" i="0" u="none" strike="noStrike" kern="1200" cap="none" spc="0" normalizeH="0" baseline="0" noProof="0">
                <a:ln>
                  <a:noFill/>
                </a:ln>
                <a:solidFill>
                  <a:srgbClr val="002B45"/>
                </a:solidFill>
                <a:effectLst/>
                <a:uLnTx/>
                <a:uFillTx/>
                <a:latin typeface="DFDS Sans"/>
                <a:ea typeface="+mn-ea"/>
                <a:cs typeface="+mn-cs"/>
              </a:rPr>
              <a:t> should always only be equal to about 10-20% of the presentation expression. For more information, please see </a:t>
            </a:r>
            <a:r>
              <a:rPr kumimoji="0" lang="en-US" sz="1200" b="0" i="0" u="none" strike="noStrike" kern="1200" cap="none" spc="0" normalizeH="0" baseline="0" noProof="0" err="1">
                <a:ln>
                  <a:noFill/>
                </a:ln>
                <a:solidFill>
                  <a:srgbClr val="002B45"/>
                </a:solidFill>
                <a:effectLst/>
                <a:uLnTx/>
                <a:uFillTx/>
                <a:latin typeface="DFDS Sans"/>
                <a:ea typeface="+mn-ea"/>
                <a:cs typeface="+mn-cs"/>
              </a:rPr>
              <a:t>colour</a:t>
            </a:r>
            <a:r>
              <a:rPr kumimoji="0" lang="en-US" sz="1200" b="0" i="0" u="none" strike="noStrike" kern="1200" cap="none" spc="0" normalizeH="0" baseline="0" noProof="0">
                <a:ln>
                  <a:noFill/>
                </a:ln>
                <a:solidFill>
                  <a:srgbClr val="002B45"/>
                </a:solidFill>
                <a:effectLst/>
                <a:uLnTx/>
                <a:uFillTx/>
                <a:latin typeface="DFDS Sans"/>
                <a:ea typeface="+mn-ea"/>
                <a:cs typeface="+mn-cs"/>
              </a:rPr>
              <a:t> guide.</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2B45"/>
                </a:solidFill>
                <a:effectLst/>
                <a:uLnTx/>
                <a:uFillTx/>
                <a:latin typeface="DFDS Sans"/>
                <a:ea typeface="+mn-ea"/>
                <a:cs typeface="+mn-cs"/>
              </a:rPr>
              <a:t>Have fun!</a:t>
            </a:r>
            <a:endParaRPr kumimoji="0" lang="en-GB" sz="1200" b="0" i="0" u="none" strike="noStrike" kern="1200" cap="none" spc="0" normalizeH="0" baseline="0" noProof="1">
              <a:ln>
                <a:noFill/>
              </a:ln>
              <a:solidFill>
                <a:srgbClr val="002B45"/>
              </a:solidFill>
              <a:effectLst/>
              <a:uLnTx/>
              <a:uFillTx/>
              <a:latin typeface="DFDS Sans"/>
              <a:ea typeface="+mn-ea"/>
              <a:cs typeface="DFDS Sans" panose="00000500000000000000" pitchFamily="2" charset="0"/>
            </a:endParaRPr>
          </a:p>
        </p:txBody>
      </p:sp>
      <p:sp>
        <p:nvSpPr>
          <p:cNvPr id="5" name="Footer logo">
            <a:extLst>
              <a:ext uri="{FF2B5EF4-FFF2-40B4-BE49-F238E27FC236}">
                <a16:creationId xmlns:a16="http://schemas.microsoft.com/office/drawing/2014/main" id="{CFBDFAA1-B1DE-B30A-1E72-1F246ABB4965}"/>
              </a:ext>
            </a:extLst>
          </p:cNvPr>
          <p:cNvSpPr>
            <a:spLocks noChangeAspect="1"/>
          </p:cNvSpPr>
          <p:nvPr userDrawn="1"/>
        </p:nvSpPr>
        <p:spPr>
          <a:xfrm>
            <a:off x="11634124" y="6504694"/>
            <a:ext cx="288000" cy="81844"/>
          </a:xfrm>
          <a:custGeom>
            <a:avLst/>
            <a:gdLst>
              <a:gd name="connsiteX0" fmla="*/ 109963 w 193596"/>
              <a:gd name="connsiteY0" fmla="*/ 11125 h 55016"/>
              <a:gd name="connsiteX1" fmla="*/ 109963 w 193596"/>
              <a:gd name="connsiteY1" fmla="*/ 43891 h 55016"/>
              <a:gd name="connsiteX2" fmla="*/ 118345 w 193596"/>
              <a:gd name="connsiteY2" fmla="*/ 43891 h 55016"/>
              <a:gd name="connsiteX3" fmla="*/ 133356 w 193596"/>
              <a:gd name="connsiteY3" fmla="*/ 27356 h 55016"/>
              <a:gd name="connsiteX4" fmla="*/ 118421 w 193596"/>
              <a:gd name="connsiteY4" fmla="*/ 11125 h 55016"/>
              <a:gd name="connsiteX5" fmla="*/ 11811 w 193596"/>
              <a:gd name="connsiteY5" fmla="*/ 11125 h 55016"/>
              <a:gd name="connsiteX6" fmla="*/ 11811 w 193596"/>
              <a:gd name="connsiteY6" fmla="*/ 43891 h 55016"/>
              <a:gd name="connsiteX7" fmla="*/ 20193 w 193596"/>
              <a:gd name="connsiteY7" fmla="*/ 43891 h 55016"/>
              <a:gd name="connsiteX8" fmla="*/ 35204 w 193596"/>
              <a:gd name="connsiteY8" fmla="*/ 27356 h 55016"/>
              <a:gd name="connsiteX9" fmla="*/ 20269 w 193596"/>
              <a:gd name="connsiteY9" fmla="*/ 11125 h 55016"/>
              <a:gd name="connsiteX10" fmla="*/ 98152 w 193596"/>
              <a:gd name="connsiteY10" fmla="*/ 838 h 55016"/>
              <a:gd name="connsiteX11" fmla="*/ 119564 w 193596"/>
              <a:gd name="connsiteY11" fmla="*/ 838 h 55016"/>
              <a:gd name="connsiteX12" fmla="*/ 145396 w 193596"/>
              <a:gd name="connsiteY12" fmla="*/ 27356 h 55016"/>
              <a:gd name="connsiteX13" fmla="*/ 119564 w 193596"/>
              <a:gd name="connsiteY13" fmla="*/ 54178 h 55016"/>
              <a:gd name="connsiteX14" fmla="*/ 98152 w 193596"/>
              <a:gd name="connsiteY14" fmla="*/ 54178 h 55016"/>
              <a:gd name="connsiteX15" fmla="*/ 55438 w 193596"/>
              <a:gd name="connsiteY15" fmla="*/ 838 h 55016"/>
              <a:gd name="connsiteX16" fmla="*/ 89728 w 193596"/>
              <a:gd name="connsiteY16" fmla="*/ 838 h 55016"/>
              <a:gd name="connsiteX17" fmla="*/ 89728 w 193596"/>
              <a:gd name="connsiteY17" fmla="*/ 11049 h 55016"/>
              <a:gd name="connsiteX18" fmla="*/ 67249 w 193596"/>
              <a:gd name="connsiteY18" fmla="*/ 11049 h 55016"/>
              <a:gd name="connsiteX19" fmla="*/ 67249 w 193596"/>
              <a:gd name="connsiteY19" fmla="*/ 23774 h 55016"/>
              <a:gd name="connsiteX20" fmla="*/ 89042 w 193596"/>
              <a:gd name="connsiteY20" fmla="*/ 23774 h 55016"/>
              <a:gd name="connsiteX21" fmla="*/ 89042 w 193596"/>
              <a:gd name="connsiteY21" fmla="*/ 33909 h 55016"/>
              <a:gd name="connsiteX22" fmla="*/ 67249 w 193596"/>
              <a:gd name="connsiteY22" fmla="*/ 33909 h 55016"/>
              <a:gd name="connsiteX23" fmla="*/ 67249 w 193596"/>
              <a:gd name="connsiteY23" fmla="*/ 54178 h 55016"/>
              <a:gd name="connsiteX24" fmla="*/ 55438 w 193596"/>
              <a:gd name="connsiteY24" fmla="*/ 54178 h 55016"/>
              <a:gd name="connsiteX25" fmla="*/ 0 w 193596"/>
              <a:gd name="connsiteY25" fmla="*/ 838 h 55016"/>
              <a:gd name="connsiteX26" fmla="*/ 21412 w 193596"/>
              <a:gd name="connsiteY26" fmla="*/ 838 h 55016"/>
              <a:gd name="connsiteX27" fmla="*/ 47244 w 193596"/>
              <a:gd name="connsiteY27" fmla="*/ 27356 h 55016"/>
              <a:gd name="connsiteX28" fmla="*/ 21412 w 193596"/>
              <a:gd name="connsiteY28" fmla="*/ 54178 h 55016"/>
              <a:gd name="connsiteX29" fmla="*/ 0 w 193596"/>
              <a:gd name="connsiteY29" fmla="*/ 54178 h 55016"/>
              <a:gd name="connsiteX30" fmla="*/ 172031 w 193596"/>
              <a:gd name="connsiteY30" fmla="*/ 0 h 55016"/>
              <a:gd name="connsiteX31" fmla="*/ 192605 w 193596"/>
              <a:gd name="connsiteY31" fmla="*/ 16459 h 55016"/>
              <a:gd name="connsiteX32" fmla="*/ 180642 w 193596"/>
              <a:gd name="connsiteY32" fmla="*/ 16459 h 55016"/>
              <a:gd name="connsiteX33" fmla="*/ 172031 w 193596"/>
              <a:gd name="connsiteY33" fmla="*/ 9982 h 55016"/>
              <a:gd name="connsiteX34" fmla="*/ 163725 w 193596"/>
              <a:gd name="connsiteY34" fmla="*/ 15545 h 55016"/>
              <a:gd name="connsiteX35" fmla="*/ 170202 w 193596"/>
              <a:gd name="connsiteY35" fmla="*/ 20803 h 55016"/>
              <a:gd name="connsiteX36" fmla="*/ 178127 w 193596"/>
              <a:gd name="connsiteY36" fmla="*/ 22327 h 55016"/>
              <a:gd name="connsiteX37" fmla="*/ 193596 w 193596"/>
              <a:gd name="connsiteY37" fmla="*/ 38176 h 55016"/>
              <a:gd name="connsiteX38" fmla="*/ 172793 w 193596"/>
              <a:gd name="connsiteY38" fmla="*/ 55016 h 55016"/>
              <a:gd name="connsiteX39" fmla="*/ 151000 w 193596"/>
              <a:gd name="connsiteY39" fmla="*/ 37871 h 55016"/>
              <a:gd name="connsiteX40" fmla="*/ 162963 w 193596"/>
              <a:gd name="connsiteY40" fmla="*/ 37871 h 55016"/>
              <a:gd name="connsiteX41" fmla="*/ 172717 w 193596"/>
              <a:gd name="connsiteY41" fmla="*/ 45034 h 55016"/>
              <a:gd name="connsiteX42" fmla="*/ 181632 w 193596"/>
              <a:gd name="connsiteY42" fmla="*/ 38862 h 55016"/>
              <a:gd name="connsiteX43" fmla="*/ 174774 w 193596"/>
              <a:gd name="connsiteY43" fmla="*/ 32918 h 55016"/>
              <a:gd name="connsiteX44" fmla="*/ 167078 w 193596"/>
              <a:gd name="connsiteY44" fmla="*/ 31471 h 55016"/>
              <a:gd name="connsiteX45" fmla="*/ 151686 w 193596"/>
              <a:gd name="connsiteY45" fmla="*/ 16078 h 55016"/>
              <a:gd name="connsiteX46" fmla="*/ 172031 w 193596"/>
              <a:gd name="connsiteY46" fmla="*/ 0 h 55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3596" h="55016">
                <a:moveTo>
                  <a:pt x="109963" y="11125"/>
                </a:moveTo>
                <a:lnTo>
                  <a:pt x="109963" y="43891"/>
                </a:lnTo>
                <a:lnTo>
                  <a:pt x="118345" y="43891"/>
                </a:lnTo>
                <a:cubicBezTo>
                  <a:pt x="126498" y="43891"/>
                  <a:pt x="133356" y="38786"/>
                  <a:pt x="133356" y="27356"/>
                </a:cubicBezTo>
                <a:cubicBezTo>
                  <a:pt x="133356" y="16611"/>
                  <a:pt x="127032" y="11125"/>
                  <a:pt x="118421" y="11125"/>
                </a:cubicBezTo>
                <a:close/>
                <a:moveTo>
                  <a:pt x="11811" y="11125"/>
                </a:moveTo>
                <a:lnTo>
                  <a:pt x="11811" y="43891"/>
                </a:lnTo>
                <a:lnTo>
                  <a:pt x="20193" y="43891"/>
                </a:lnTo>
                <a:cubicBezTo>
                  <a:pt x="28346" y="43891"/>
                  <a:pt x="35204" y="38786"/>
                  <a:pt x="35204" y="27356"/>
                </a:cubicBezTo>
                <a:cubicBezTo>
                  <a:pt x="35204" y="16611"/>
                  <a:pt x="28880" y="11125"/>
                  <a:pt x="20269" y="11125"/>
                </a:cubicBezTo>
                <a:close/>
                <a:moveTo>
                  <a:pt x="98152" y="838"/>
                </a:moveTo>
                <a:lnTo>
                  <a:pt x="119564" y="838"/>
                </a:lnTo>
                <a:cubicBezTo>
                  <a:pt x="135338" y="838"/>
                  <a:pt x="145396" y="11582"/>
                  <a:pt x="145396" y="27356"/>
                </a:cubicBezTo>
                <a:cubicBezTo>
                  <a:pt x="145396" y="43434"/>
                  <a:pt x="135338" y="54178"/>
                  <a:pt x="119564" y="54178"/>
                </a:cubicBezTo>
                <a:lnTo>
                  <a:pt x="98152" y="54178"/>
                </a:lnTo>
                <a:close/>
                <a:moveTo>
                  <a:pt x="55438" y="838"/>
                </a:moveTo>
                <a:lnTo>
                  <a:pt x="89728" y="838"/>
                </a:lnTo>
                <a:lnTo>
                  <a:pt x="89728" y="11049"/>
                </a:lnTo>
                <a:lnTo>
                  <a:pt x="67249" y="11049"/>
                </a:lnTo>
                <a:lnTo>
                  <a:pt x="67249" y="23774"/>
                </a:lnTo>
                <a:lnTo>
                  <a:pt x="89042" y="23774"/>
                </a:lnTo>
                <a:lnTo>
                  <a:pt x="89042" y="33909"/>
                </a:lnTo>
                <a:lnTo>
                  <a:pt x="67249" y="33909"/>
                </a:lnTo>
                <a:lnTo>
                  <a:pt x="67249" y="54178"/>
                </a:lnTo>
                <a:lnTo>
                  <a:pt x="55438" y="54178"/>
                </a:lnTo>
                <a:close/>
                <a:moveTo>
                  <a:pt x="0" y="838"/>
                </a:moveTo>
                <a:lnTo>
                  <a:pt x="21412" y="838"/>
                </a:lnTo>
                <a:cubicBezTo>
                  <a:pt x="37186" y="838"/>
                  <a:pt x="47244" y="11582"/>
                  <a:pt x="47244" y="27356"/>
                </a:cubicBezTo>
                <a:cubicBezTo>
                  <a:pt x="47244" y="43434"/>
                  <a:pt x="37186" y="54178"/>
                  <a:pt x="21412" y="54178"/>
                </a:cubicBezTo>
                <a:lnTo>
                  <a:pt x="0" y="54178"/>
                </a:lnTo>
                <a:close/>
                <a:moveTo>
                  <a:pt x="172031" y="0"/>
                </a:moveTo>
                <a:cubicBezTo>
                  <a:pt x="183614" y="0"/>
                  <a:pt x="191538" y="6629"/>
                  <a:pt x="192605" y="16459"/>
                </a:cubicBezTo>
                <a:lnTo>
                  <a:pt x="180642" y="16459"/>
                </a:lnTo>
                <a:cubicBezTo>
                  <a:pt x="179727" y="12421"/>
                  <a:pt x="177213" y="9982"/>
                  <a:pt x="172031" y="9982"/>
                </a:cubicBezTo>
                <a:cubicBezTo>
                  <a:pt x="167764" y="9982"/>
                  <a:pt x="163725" y="11659"/>
                  <a:pt x="163725" y="15545"/>
                </a:cubicBezTo>
                <a:cubicBezTo>
                  <a:pt x="163725" y="18517"/>
                  <a:pt x="166164" y="19964"/>
                  <a:pt x="170202" y="20803"/>
                </a:cubicBezTo>
                <a:lnTo>
                  <a:pt x="178127" y="22327"/>
                </a:lnTo>
                <a:cubicBezTo>
                  <a:pt x="187805" y="24155"/>
                  <a:pt x="193596" y="29489"/>
                  <a:pt x="193596" y="38176"/>
                </a:cubicBezTo>
                <a:cubicBezTo>
                  <a:pt x="193596" y="49454"/>
                  <a:pt x="183842" y="55016"/>
                  <a:pt x="172793" y="55016"/>
                </a:cubicBezTo>
                <a:cubicBezTo>
                  <a:pt x="159839" y="55016"/>
                  <a:pt x="152219" y="47701"/>
                  <a:pt x="151000" y="37871"/>
                </a:cubicBezTo>
                <a:lnTo>
                  <a:pt x="162963" y="37871"/>
                </a:lnTo>
                <a:cubicBezTo>
                  <a:pt x="163649" y="42367"/>
                  <a:pt x="167383" y="45034"/>
                  <a:pt x="172717" y="45034"/>
                </a:cubicBezTo>
                <a:cubicBezTo>
                  <a:pt x="177365" y="45034"/>
                  <a:pt x="181632" y="43053"/>
                  <a:pt x="181632" y="38862"/>
                </a:cubicBezTo>
                <a:cubicBezTo>
                  <a:pt x="181632" y="35738"/>
                  <a:pt x="179194" y="33757"/>
                  <a:pt x="174774" y="32918"/>
                </a:cubicBezTo>
                <a:lnTo>
                  <a:pt x="167078" y="31471"/>
                </a:lnTo>
                <a:cubicBezTo>
                  <a:pt x="158010" y="29947"/>
                  <a:pt x="151686" y="24841"/>
                  <a:pt x="151686" y="16078"/>
                </a:cubicBezTo>
                <a:cubicBezTo>
                  <a:pt x="151686" y="5105"/>
                  <a:pt x="161820" y="0"/>
                  <a:pt x="172031" y="0"/>
                </a:cubicBezTo>
                <a:close/>
              </a:path>
            </a:pathLst>
          </a:custGeom>
          <a:solidFill>
            <a:srgbClr val="002B45"/>
          </a:solidFill>
          <a:ln w="9525" cap="flat">
            <a:noFill/>
            <a:prstDash val="solid"/>
            <a:miter/>
          </a:ln>
        </p:spPr>
        <p:txBody>
          <a:bodyPr rtlCol="0" anchor="ctr"/>
          <a:lstStyle/>
          <a:p>
            <a:endParaRPr lang="en-GB"/>
          </a:p>
        </p:txBody>
      </p:sp>
    </p:spTree>
    <p:extLst>
      <p:ext uri="{BB962C8B-B14F-4D97-AF65-F5344CB8AC3E}">
        <p14:creationId xmlns:p14="http://schemas.microsoft.com/office/powerpoint/2010/main" val="187509478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bwMode="black">
          <a:xfrm>
            <a:off x="0" y="0"/>
            <a:ext cx="12192000" cy="6858000"/>
          </a:xfrm>
          <a:prstGeom prst="rect">
            <a:avLst/>
          </a:prstGeom>
          <a:solidFill>
            <a:schemeClr val="tx1"/>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5" name="Do not use"/>
          <p:cNvSpPr txBox="1"/>
          <p:nvPr userDrawn="1"/>
        </p:nvSpPr>
        <p:spPr bwMode="white">
          <a:xfrm>
            <a:off x="430213" y="656823"/>
            <a:ext cx="11356977" cy="2893100"/>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4400" b="0" noProof="0">
                <a:solidFill>
                  <a:schemeClr val="bg1"/>
                </a:solidFill>
              </a:rPr>
              <a:t>If you see any </a:t>
            </a:r>
            <a:r>
              <a:rPr lang="en-GB" sz="4400" b="1" i="1" noProof="0">
                <a:solidFill>
                  <a:schemeClr val="bg1"/>
                </a:solidFill>
              </a:rPr>
              <a:t>layouts after this one,</a:t>
            </a:r>
            <a:br>
              <a:rPr lang="en-GB" sz="4400" b="0" i="0" noProof="0">
                <a:solidFill>
                  <a:schemeClr val="bg1"/>
                </a:solidFill>
              </a:rPr>
            </a:br>
            <a:r>
              <a:rPr lang="en-GB" sz="4400" b="0" noProof="0">
                <a:solidFill>
                  <a:schemeClr val="bg1"/>
                </a:solidFill>
              </a:rPr>
              <a:t>do not use them. These layouts </a:t>
            </a:r>
            <a:r>
              <a:rPr lang="en-GB" sz="4400" b="1" i="1" u="none" noProof="0">
                <a:solidFill>
                  <a:schemeClr val="bg1"/>
                </a:solidFill>
              </a:rPr>
              <a:t>are not </a:t>
            </a:r>
            <a:r>
              <a:rPr lang="en-GB" sz="4400" b="0" noProof="0">
                <a:solidFill>
                  <a:schemeClr val="bg1"/>
                </a:solidFill>
              </a:rPr>
              <a:t>part of our corporate template.</a:t>
            </a:r>
            <a:br>
              <a:rPr lang="en-GB" sz="2800" b="0" noProof="0">
                <a:solidFill>
                  <a:schemeClr val="bg1"/>
                </a:solidFill>
              </a:rPr>
            </a:br>
            <a:br>
              <a:rPr lang="en-GB" sz="2800" b="0" noProof="0">
                <a:solidFill>
                  <a:schemeClr val="bg1"/>
                </a:solidFill>
              </a:rPr>
            </a:br>
            <a:endParaRPr lang="en-GB" sz="2800" b="0" noProof="0">
              <a:solidFill>
                <a:schemeClr val="bg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bwMode="white">
          <a:xfrm rot="8100000">
            <a:off x="10404874" y="3325226"/>
            <a:ext cx="1036788" cy="1036788"/>
            <a:chOff x="6096000" y="4963130"/>
            <a:chExt cx="1456719" cy="1456719"/>
          </a:xfrm>
          <a:solidFill>
            <a:schemeClr val="bg1"/>
          </a:solidFill>
        </p:grpSpPr>
        <p:sp>
          <p:nvSpPr>
            <p:cNvPr id="3" name="Rectangle 2">
              <a:extLst>
                <a:ext uri="{FF2B5EF4-FFF2-40B4-BE49-F238E27FC236}">
                  <a16:creationId xmlns:a16="http://schemas.microsoft.com/office/drawing/2014/main" id="{C823227E-A862-4A7F-BC20-0D107430AB2C}"/>
                </a:ext>
              </a:extLst>
            </p:cNvPr>
            <p:cNvSpPr/>
            <p:nvPr userDrawn="1"/>
          </p:nvSpPr>
          <p:spPr bwMode="white">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bwMode="white">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bwMode="white">
          <a:xfrm>
            <a:off x="430213" y="2588374"/>
            <a:ext cx="10152346" cy="2215991"/>
          </a:xfrm>
          <a:prstGeom prst="rect">
            <a:avLst/>
          </a:prstGeom>
        </p:spPr>
        <p:txBody>
          <a:bodyPr wrap="square">
            <a:spAutoFit/>
          </a:bodyPr>
          <a:lstStyle/>
          <a:p>
            <a:pPr algn="ctr"/>
            <a:r>
              <a:rPr lang="en-GB" sz="13800" b="1" i="1" noProof="0">
                <a:solidFill>
                  <a:schemeClr val="bg1"/>
                </a:solidFill>
              </a:rPr>
              <a:t>Do not use </a:t>
            </a:r>
            <a:endParaRPr lang="en-GB" sz="2400" b="1" i="1" noProof="0"/>
          </a:p>
        </p:txBody>
      </p:sp>
      <p:sp>
        <p:nvSpPr>
          <p:cNvPr id="16" name="Do not use">
            <a:extLst>
              <a:ext uri="{FF2B5EF4-FFF2-40B4-BE49-F238E27FC236}">
                <a16:creationId xmlns:a16="http://schemas.microsoft.com/office/drawing/2014/main" id="{A8FA78FA-4D94-4717-B7C6-6F86378D6B01}"/>
              </a:ext>
            </a:extLst>
          </p:cNvPr>
          <p:cNvSpPr txBox="1"/>
          <p:nvPr userDrawn="1"/>
        </p:nvSpPr>
        <p:spPr bwMode="white">
          <a:xfrm>
            <a:off x="430214" y="5186455"/>
            <a:ext cx="11356974" cy="1277273"/>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2000" b="0" noProof="0">
                <a:solidFill>
                  <a:schemeClr val="bg1"/>
                </a:solidFill>
              </a:rPr>
              <a:t>Due to PowerPoint’s standard Copy/Paste functionality extra undesirable layouts can appear.</a:t>
            </a:r>
          </a:p>
          <a:p>
            <a:pPr marL="0" marR="0" indent="0" algn="ctr" fontAlgn="auto">
              <a:lnSpc>
                <a:spcPct val="100000"/>
              </a:lnSpc>
              <a:spcBef>
                <a:spcPts val="600"/>
              </a:spcBef>
              <a:spcAft>
                <a:spcPts val="0"/>
              </a:spcAft>
              <a:buClr>
                <a:srgbClr val="003755"/>
              </a:buClr>
              <a:buSzTx/>
              <a:buFontTx/>
              <a:buNone/>
              <a:tabLst/>
            </a:pPr>
            <a:r>
              <a:rPr lang="en-GB" sz="2000" b="0" noProof="0">
                <a:solidFill>
                  <a:schemeClr val="bg1"/>
                </a:solidFill>
              </a:rPr>
              <a:t>Also notice: Layouts after this might contain potential confidential information.</a:t>
            </a:r>
            <a:br>
              <a:rPr lang="en-GB" sz="1800" b="0" noProof="0">
                <a:solidFill>
                  <a:schemeClr val="bg1"/>
                </a:solidFill>
              </a:rPr>
            </a:br>
            <a:endParaRPr lang="en-GB" sz="1800" b="0" noProof="0">
              <a:solidFill>
                <a:schemeClr val="bg1"/>
              </a:solidFill>
            </a:endParaRPr>
          </a:p>
        </p:txBody>
      </p:sp>
      <p:sp>
        <p:nvSpPr>
          <p:cNvPr id="13" name="Date Placeholder 6" hidden="1">
            <a:extLst>
              <a:ext uri="{FF2B5EF4-FFF2-40B4-BE49-F238E27FC236}">
                <a16:creationId xmlns:a16="http://schemas.microsoft.com/office/drawing/2014/main" id="{706505A8-87EA-4BA0-B698-35156BC765D0}"/>
              </a:ext>
            </a:extLst>
          </p:cNvPr>
          <p:cNvSpPr>
            <a:spLocks noGrp="1"/>
          </p:cNvSpPr>
          <p:nvPr>
            <p:ph type="dt" sz="half" idx="15"/>
          </p:nvPr>
        </p:nvSpPr>
        <p:spPr>
          <a:xfrm>
            <a:off x="0" y="6858000"/>
            <a:ext cx="0" cy="0"/>
          </a:xfrm>
          <a:prstGeom prst="rect">
            <a:avLst/>
          </a:prstGeom>
        </p:spPr>
        <p:txBody>
          <a:bodyPr/>
          <a:lstStyle>
            <a:lvl1pPr>
              <a:defRPr sz="100">
                <a:noFill/>
              </a:defRPr>
            </a:lvl1pPr>
          </a:lstStyle>
          <a:p>
            <a:fld id="{87ED4C49-0595-481E-9D47-A3DB73F37440}" type="datetime4">
              <a:rPr lang="en-GB" smtClean="0"/>
              <a:t>20 February 2025</a:t>
            </a:fld>
            <a:endParaRPr lang="en-GB"/>
          </a:p>
        </p:txBody>
      </p:sp>
      <p:sp>
        <p:nvSpPr>
          <p:cNvPr id="14" name="Footer Placeholder 8" hidden="1">
            <a:extLst>
              <a:ext uri="{FF2B5EF4-FFF2-40B4-BE49-F238E27FC236}">
                <a16:creationId xmlns:a16="http://schemas.microsoft.com/office/drawing/2014/main" id="{AB150C2C-2030-498B-8262-6BD5BCCBB345}"/>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5" name="Slide Number Placeholder 10" hidden="1">
            <a:extLst>
              <a:ext uri="{FF2B5EF4-FFF2-40B4-BE49-F238E27FC236}">
                <a16:creationId xmlns:a16="http://schemas.microsoft.com/office/drawing/2014/main" id="{E81B246F-92C7-4EF8-ACD0-05F73C7095BE}"/>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165314624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166462584"/>
              </p:ext>
            </p:extLst>
          </p:nvPr>
        </p:nvGraphicFramePr>
        <p:xfrm>
          <a:off x="1590" y="1590"/>
          <a:ext cx="1586"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90" y="1590"/>
                        <a:ext cx="1586" cy="1587"/>
                      </a:xfrm>
                      <a:prstGeom prst="rect">
                        <a:avLst/>
                      </a:prstGeom>
                    </p:spPr>
                  </p:pic>
                </p:oleObj>
              </mc:Fallback>
            </mc:AlternateContent>
          </a:graphicData>
        </a:graphic>
      </p:graphicFrame>
      <p:sp>
        <p:nvSpPr>
          <p:cNvPr id="10" name="FooterSimple" hidden="1"/>
          <p:cNvSpPr txBox="1"/>
          <p:nvPr userDrawn="1">
            <p:custDataLst>
              <p:tags r:id="rId2"/>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DFDS </a:t>
            </a:r>
            <a:r>
              <a:rPr lang="en-GB" sz="700" err="1">
                <a:solidFill>
                  <a:schemeClr val="bg1">
                    <a:lumMod val="50000"/>
                  </a:schemeClr>
                </a:solidFill>
                <a:latin typeface="+mn-lt"/>
                <a:sym typeface="Trebuchet MS" panose="020B0603020202020204" pitchFamily="34" charset="0"/>
              </a:rPr>
              <a:t>Strategy_CEO</a:t>
            </a:r>
            <a:r>
              <a:rPr lang="en-GB" sz="700">
                <a:solidFill>
                  <a:schemeClr val="bg1">
                    <a:lumMod val="50000"/>
                  </a:schemeClr>
                </a:solidFill>
                <a:latin typeface="+mn-lt"/>
                <a:sym typeface="Trebuchet MS" panose="020B0603020202020204" pitchFamily="34" charset="0"/>
              </a:rPr>
              <a:t> meeting_9APR18_v01.pptx</a:t>
            </a:r>
          </a:p>
        </p:txBody>
      </p:sp>
      <p:sp>
        <p:nvSpPr>
          <p:cNvPr id="3" name="Title 2"/>
          <p:cNvSpPr>
            <a:spLocks noGrp="1"/>
          </p:cNvSpPr>
          <p:nvPr>
            <p:ph type="title"/>
          </p:nvPr>
        </p:nvSpPr>
        <p:spPr/>
        <p:txBody>
          <a:bodyPr/>
          <a:lstStyle/>
          <a:p>
            <a:r>
              <a:rPr lang="en-US"/>
              <a:t>Click to edit Master title style</a:t>
            </a:r>
            <a:endParaRPr lang="en-GB"/>
          </a:p>
        </p:txBody>
      </p:sp>
      <p:sp>
        <p:nvSpPr>
          <p:cNvPr id="6" name="Text Placeholder 4">
            <a:extLst>
              <a:ext uri="{FF2B5EF4-FFF2-40B4-BE49-F238E27FC236}">
                <a16:creationId xmlns:a16="http://schemas.microsoft.com/office/drawing/2014/main" id="{E2C8A6BA-84E5-4627-B458-0F90F0944806}"/>
              </a:ext>
            </a:extLst>
          </p:cNvPr>
          <p:cNvSpPr>
            <a:spLocks noGrp="1"/>
          </p:cNvSpPr>
          <p:nvPr>
            <p:ph type="body" sz="quarter" idx="10"/>
          </p:nvPr>
        </p:nvSpPr>
        <p:spPr>
          <a:xfrm>
            <a:off x="695325" y="6449219"/>
            <a:ext cx="11071225" cy="95250"/>
          </a:xfrm>
        </p:spPr>
        <p:txBody>
          <a:bodyPr anchor="ctr" anchorCtr="0"/>
          <a:lstStyle>
            <a:lvl1pPr>
              <a:defRPr sz="800"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14938539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pos="234">
          <p15:clr>
            <a:srgbClr val="FBAE40"/>
          </p15:clr>
        </p15:guide>
        <p15:guide id="2" pos="7446">
          <p15:clr>
            <a:srgbClr val="FBAE40"/>
          </p15:clr>
        </p15:guide>
        <p15:guide id="3" orient="horz" pos="91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 B (light image)">
    <p:bg>
      <p:bgPr>
        <a:solidFill>
          <a:schemeClr val="accent2"/>
        </a:solidFill>
        <a:effectLst/>
      </p:bgPr>
    </p:bg>
    <p:spTree>
      <p:nvGrpSpPr>
        <p:cNvPr id="1" name=""/>
        <p:cNvGrpSpPr/>
        <p:nvPr/>
      </p:nvGrpSpPr>
      <p:grpSpPr>
        <a:xfrm>
          <a:off x="0" y="0"/>
          <a:ext cx="0" cy="0"/>
          <a:chOff x="0" y="0"/>
          <a:chExt cx="0" cy="0"/>
        </a:xfrm>
      </p:grpSpPr>
      <p:sp>
        <p:nvSpPr>
          <p:cNvPr id="9" name="Background">
            <a:extLst>
              <a:ext uri="{FF2B5EF4-FFF2-40B4-BE49-F238E27FC236}">
                <a16:creationId xmlns:a16="http://schemas.microsoft.com/office/drawing/2014/main" id="{4594DFF5-9452-E1AF-1B46-59956C930ABF}"/>
              </a:ext>
            </a:extLst>
          </p:cNvPr>
          <p:cNvSpPr/>
          <p:nvPr userDrawn="1"/>
        </p:nvSpPr>
        <p:spPr>
          <a:xfrm>
            <a:off x="-2788" y="0"/>
            <a:ext cx="121932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8" name="Picture Placeholder 7">
            <a:extLst>
              <a:ext uri="{FF2B5EF4-FFF2-40B4-BE49-F238E27FC236}">
                <a16:creationId xmlns:a16="http://schemas.microsoft.com/office/drawing/2014/main" id="{2B688E27-CE24-5040-B299-D1280FD72647}"/>
              </a:ext>
            </a:extLst>
          </p:cNvPr>
          <p:cNvSpPr>
            <a:spLocks noGrp="1"/>
          </p:cNvSpPr>
          <p:nvPr>
            <p:ph type="pic" sz="quarter" idx="18" hasCustomPrompt="1"/>
          </p:nvPr>
        </p:nvSpPr>
        <p:spPr>
          <a:xfrm>
            <a:off x="0" y="0"/>
            <a:ext cx="12193200" cy="6858000"/>
          </a:xfrm>
          <a:custGeom>
            <a:avLst/>
            <a:gdLst>
              <a:gd name="connsiteX0" fmla="*/ 0 w 12193200"/>
              <a:gd name="connsiteY0" fmla="*/ 0 h 6858000"/>
              <a:gd name="connsiteX1" fmla="*/ 12192000 w 12193200"/>
              <a:gd name="connsiteY1" fmla="*/ 0 h 6858000"/>
              <a:gd name="connsiteX2" fmla="*/ 12193200 w 12193200"/>
              <a:gd name="connsiteY2" fmla="*/ 0 h 6858000"/>
              <a:gd name="connsiteX3" fmla="*/ 12193200 w 12193200"/>
              <a:gd name="connsiteY3" fmla="*/ 6858000 h 6858000"/>
              <a:gd name="connsiteX4" fmla="*/ 12192000 w 12193200"/>
              <a:gd name="connsiteY4" fmla="*/ 6858000 h 6858000"/>
              <a:gd name="connsiteX5" fmla="*/ 0 w 12193200"/>
              <a:gd name="connsiteY5" fmla="*/ 6858000 h 6858000"/>
              <a:gd name="connsiteX6" fmla="*/ 0 w 12193200"/>
              <a:gd name="connsiteY6" fmla="*/ 6857934 h 6858000"/>
              <a:gd name="connsiteX7" fmla="*/ 12189212 w 12193200"/>
              <a:gd name="connsiteY7" fmla="*/ 6857934 h 6858000"/>
              <a:gd name="connsiteX8" fmla="*/ 12189212 w 12193200"/>
              <a:gd name="connsiteY8" fmla="*/ 5516852 h 6858000"/>
              <a:gd name="connsiteX9" fmla="*/ 447046 w 12193200"/>
              <a:gd name="connsiteY9" fmla="*/ 3510971 h 6858000"/>
              <a:gd name="connsiteX10" fmla="*/ 0 w 12193200"/>
              <a:gd name="connsiteY10" fmla="*/ 350523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3200" h="6858000">
                <a:moveTo>
                  <a:pt x="0" y="0"/>
                </a:moveTo>
                <a:lnTo>
                  <a:pt x="12192000" y="0"/>
                </a:lnTo>
                <a:lnTo>
                  <a:pt x="12193200" y="0"/>
                </a:lnTo>
                <a:lnTo>
                  <a:pt x="12193200" y="6858000"/>
                </a:lnTo>
                <a:lnTo>
                  <a:pt x="12192000" y="6858000"/>
                </a:lnTo>
                <a:lnTo>
                  <a:pt x="0" y="6858000"/>
                </a:lnTo>
                <a:lnTo>
                  <a:pt x="0" y="6857934"/>
                </a:lnTo>
                <a:lnTo>
                  <a:pt x="12189212" y="6857934"/>
                </a:lnTo>
                <a:lnTo>
                  <a:pt x="12189212" y="5516852"/>
                </a:lnTo>
                <a:cubicBezTo>
                  <a:pt x="6466479" y="5516852"/>
                  <a:pt x="4993635" y="3628964"/>
                  <a:pt x="447046" y="3510971"/>
                </a:cubicBezTo>
                <a:lnTo>
                  <a:pt x="0" y="3505236"/>
                </a:lnTo>
                <a:close/>
              </a:path>
            </a:pathLst>
          </a:custGeom>
          <a:solidFill>
            <a:schemeClr val="bg1">
              <a:lumMod val="95000"/>
            </a:schemeClr>
          </a:solidFill>
        </p:spPr>
        <p:txBody>
          <a:bodyPr wrap="square" bIns="648000" anchor="ctr">
            <a:noAutofit/>
          </a:bodyPr>
          <a:lstStyle>
            <a:lvl1pPr marL="126000" indent="0" algn="ctr">
              <a:buNone/>
              <a:defRPr/>
            </a:lvl1pPr>
          </a:lstStyle>
          <a:p>
            <a:r>
              <a:rPr lang="en-GB"/>
              <a:t>Click icon to add light picture</a:t>
            </a:r>
          </a:p>
        </p:txBody>
      </p:sp>
      <p:sp>
        <p:nvSpPr>
          <p:cNvPr id="2" name="Title 1"/>
          <p:cNvSpPr>
            <a:spLocks noGrp="1"/>
          </p:cNvSpPr>
          <p:nvPr>
            <p:ph type="ctrTitle" hasCustomPrompt="1"/>
          </p:nvPr>
        </p:nvSpPr>
        <p:spPr>
          <a:xfrm>
            <a:off x="269875" y="271462"/>
            <a:ext cx="11650663" cy="2029777"/>
          </a:xfrm>
        </p:spPr>
        <p:txBody>
          <a:bodyPr anchor="t"/>
          <a:lstStyle>
            <a:lvl1pPr algn="l">
              <a:lnSpc>
                <a:spcPct val="90000"/>
              </a:lnSpc>
              <a:defRPr sz="7500">
                <a:solidFill>
                  <a:schemeClr val="accent1"/>
                </a:solidFill>
              </a:defRPr>
            </a:lvl1pPr>
          </a:lstStyle>
          <a:p>
            <a:r>
              <a:rPr lang="en-GB"/>
              <a:t>Click to add title</a:t>
            </a:r>
          </a:p>
        </p:txBody>
      </p:sp>
      <p:pic>
        <p:nvPicPr>
          <p:cNvPr id="24" name="Graphic 23">
            <a:extLst>
              <a:ext uri="{FF2B5EF4-FFF2-40B4-BE49-F238E27FC236}">
                <a16:creationId xmlns:a16="http://schemas.microsoft.com/office/drawing/2014/main" id="{FEA3BFCE-12E5-2C60-27A4-78E098AB4CEC}"/>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929938" y="6253163"/>
            <a:ext cx="1000125" cy="333375"/>
          </a:xfrm>
          <a:prstGeom prst="rect">
            <a:avLst/>
          </a:prstGeom>
        </p:spPr>
      </p:pic>
      <p:sp>
        <p:nvSpPr>
          <p:cNvPr id="27" name="Subtitle 2">
            <a:extLst>
              <a:ext uri="{FF2B5EF4-FFF2-40B4-BE49-F238E27FC236}">
                <a16:creationId xmlns:a16="http://schemas.microsoft.com/office/drawing/2014/main" id="{61B7D5FC-1EAC-298E-D828-AEE1FD7B5DD5}"/>
              </a:ext>
            </a:extLst>
          </p:cNvPr>
          <p:cNvSpPr>
            <a:spLocks noGrp="1"/>
          </p:cNvSpPr>
          <p:nvPr>
            <p:ph type="subTitle" idx="1" hasCustomPrompt="1"/>
          </p:nvPr>
        </p:nvSpPr>
        <p:spPr bwMode="white">
          <a:xfrm>
            <a:off x="269875" y="6429375"/>
            <a:ext cx="1971675" cy="157163"/>
          </a:xfrm>
        </p:spPr>
        <p:txBody>
          <a:bodyPr tIns="0"/>
          <a:lstStyle>
            <a:lvl1pPr marL="0" indent="0" algn="l">
              <a:lnSpc>
                <a:spcPct val="100000"/>
              </a:lnSpc>
              <a:spcBef>
                <a:spcPts val="0"/>
              </a:spcBef>
              <a:spcAft>
                <a:spcPts val="0"/>
              </a:spcAft>
              <a:buFont typeface="DFDS Sans" panose="00000500000000000000" pitchFamily="2" charset="0"/>
              <a:buChar char="​"/>
              <a:defRPr sz="1000">
                <a:solidFill>
                  <a:schemeClr val="bg1"/>
                </a:solidFill>
              </a:defRPr>
            </a:lvl1pPr>
            <a:lvl2pPr marL="0" indent="0" algn="l">
              <a:lnSpc>
                <a:spcPct val="100000"/>
              </a:lnSpc>
              <a:spcAft>
                <a:spcPts val="0"/>
              </a:spcAft>
              <a:buFont typeface="DFDS Sans" panose="00000500000000000000" pitchFamily="2" charset="0"/>
              <a:buNone/>
              <a:defRPr sz="1000" b="0">
                <a:solidFill>
                  <a:schemeClr val="bg1"/>
                </a:solidFill>
              </a:defRPr>
            </a:lvl2pPr>
            <a:lvl3pPr marL="0" indent="0" algn="l">
              <a:lnSpc>
                <a:spcPct val="100000"/>
              </a:lnSpc>
              <a:spcAft>
                <a:spcPts val="0"/>
              </a:spcAft>
              <a:buFont typeface="DFDS Sans" panose="00000500000000000000" pitchFamily="2" charset="0"/>
              <a:buChar char="​"/>
              <a:defRPr sz="1000" b="0">
                <a:solidFill>
                  <a:schemeClr val="bg1"/>
                </a:solidFill>
              </a:defRPr>
            </a:lvl3pPr>
            <a:lvl4pPr marL="0" indent="0" algn="l">
              <a:lnSpc>
                <a:spcPct val="100000"/>
              </a:lnSpc>
              <a:spcAft>
                <a:spcPts val="0"/>
              </a:spcAft>
              <a:buFont typeface="DFDS Sans" panose="00000500000000000000" pitchFamily="2" charset="0"/>
              <a:buChar char="​"/>
              <a:defRPr sz="1000" b="0">
                <a:solidFill>
                  <a:schemeClr val="bg1"/>
                </a:solidFill>
              </a:defRPr>
            </a:lvl4pPr>
            <a:lvl5pPr marL="0" indent="0" algn="l">
              <a:lnSpc>
                <a:spcPct val="100000"/>
              </a:lnSpc>
              <a:spcAft>
                <a:spcPts val="0"/>
              </a:spcAft>
              <a:buFont typeface="DFDS Sans" panose="00000500000000000000" pitchFamily="2" charset="0"/>
              <a:buChar char="​"/>
              <a:defRPr sz="1000" b="0">
                <a:solidFill>
                  <a:schemeClr val="bg1"/>
                </a:solidFill>
              </a:defRPr>
            </a:lvl5pPr>
            <a:lvl6pPr marL="0" indent="0" algn="l">
              <a:lnSpc>
                <a:spcPct val="100000"/>
              </a:lnSpc>
              <a:spcAft>
                <a:spcPts val="0"/>
              </a:spcAft>
              <a:buFont typeface="DFDS Sans" panose="00000500000000000000" pitchFamily="2" charset="0"/>
              <a:buChar char="​"/>
              <a:defRPr sz="1000" b="0">
                <a:solidFill>
                  <a:schemeClr val="bg1"/>
                </a:solidFill>
              </a:defRPr>
            </a:lvl6pPr>
            <a:lvl7pPr marL="0" indent="0" algn="l">
              <a:lnSpc>
                <a:spcPct val="100000"/>
              </a:lnSpc>
              <a:spcAft>
                <a:spcPts val="0"/>
              </a:spcAft>
              <a:buFont typeface="DFDS Sans" panose="00000500000000000000" pitchFamily="2" charset="0"/>
              <a:buChar char="​"/>
              <a:defRPr sz="1000" b="0">
                <a:solidFill>
                  <a:schemeClr val="bg1"/>
                </a:solidFill>
              </a:defRPr>
            </a:lvl7pPr>
            <a:lvl8pPr marL="0" indent="0" algn="l">
              <a:lnSpc>
                <a:spcPct val="100000"/>
              </a:lnSpc>
              <a:spcAft>
                <a:spcPts val="0"/>
              </a:spcAft>
              <a:buFont typeface="DFDS Sans" panose="00000500000000000000" pitchFamily="2" charset="0"/>
              <a:buChar char="​"/>
              <a:defRPr sz="1000" b="0">
                <a:solidFill>
                  <a:schemeClr val="bg1"/>
                </a:solidFill>
              </a:defRPr>
            </a:lvl8pPr>
            <a:lvl9pPr marL="0" indent="0" algn="l">
              <a:lnSpc>
                <a:spcPct val="100000"/>
              </a:lnSpc>
              <a:spcAft>
                <a:spcPts val="0"/>
              </a:spcAft>
              <a:buFont typeface="DFDS Sans" panose="00000500000000000000" pitchFamily="2" charset="0"/>
              <a:buChar char="​"/>
              <a:defRPr sz="1000" b="0">
                <a:solidFill>
                  <a:schemeClr val="bg1"/>
                </a:solidFill>
              </a:defRPr>
            </a:lvl9pPr>
          </a:lstStyle>
          <a:p>
            <a:r>
              <a:rPr lang="en-GB"/>
              <a:t>Click to add event name</a:t>
            </a:r>
          </a:p>
        </p:txBody>
      </p:sp>
      <p:sp>
        <p:nvSpPr>
          <p:cNvPr id="37" name="Date Placeholder 36">
            <a:extLst>
              <a:ext uri="{FF2B5EF4-FFF2-40B4-BE49-F238E27FC236}">
                <a16:creationId xmlns:a16="http://schemas.microsoft.com/office/drawing/2014/main" id="{FEB58EF0-72CE-E9B0-DAF2-2DAEE50ABF86}"/>
              </a:ext>
            </a:extLst>
          </p:cNvPr>
          <p:cNvSpPr>
            <a:spLocks noGrp="1"/>
          </p:cNvSpPr>
          <p:nvPr>
            <p:ph type="dt" sz="half" idx="19"/>
          </p:nvPr>
        </p:nvSpPr>
        <p:spPr bwMode="white">
          <a:xfrm>
            <a:off x="3227387" y="6442538"/>
            <a:ext cx="1792287" cy="144000"/>
          </a:xfrm>
        </p:spPr>
        <p:txBody>
          <a:bodyPr/>
          <a:lstStyle>
            <a:lvl1pPr>
              <a:defRPr>
                <a:solidFill>
                  <a:schemeClr val="bg1"/>
                </a:solidFill>
              </a:defRPr>
            </a:lvl1pPr>
          </a:lstStyle>
          <a:p>
            <a:fld id="{41054EBB-3401-495F-AAE7-F89D4E7F6C79}" type="datetime4">
              <a:rPr lang="en-GB" smtClean="0"/>
              <a:t>20 February 2025</a:t>
            </a:fld>
            <a:endParaRPr lang="en-GB"/>
          </a:p>
        </p:txBody>
      </p:sp>
    </p:spTree>
    <p:extLst>
      <p:ext uri="{BB962C8B-B14F-4D97-AF65-F5344CB8AC3E}">
        <p14:creationId xmlns:p14="http://schemas.microsoft.com/office/powerpoint/2010/main" val="53864341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39FFAC-C213-3C14-A029-224A72AEDA97}"/>
              </a:ext>
            </a:extLst>
          </p:cNvPr>
          <p:cNvSpPr>
            <a:spLocks noGrp="1"/>
          </p:cNvSpPr>
          <p:nvPr>
            <p:ph type="title"/>
          </p:nvPr>
        </p:nvSpPr>
        <p:spPr/>
        <p:txBody>
          <a:bodyPr/>
          <a:lstStyle/>
          <a:p>
            <a:r>
              <a:rPr lang="en-US"/>
              <a:t>Click to edit Master title style</a:t>
            </a:r>
            <a:endParaRPr lang="en-GB"/>
          </a:p>
        </p:txBody>
      </p:sp>
      <p:sp>
        <p:nvSpPr>
          <p:cNvPr id="3" name="Footer Placeholder 2">
            <a:extLst>
              <a:ext uri="{FF2B5EF4-FFF2-40B4-BE49-F238E27FC236}">
                <a16:creationId xmlns:a16="http://schemas.microsoft.com/office/drawing/2014/main" id="{E68CBC38-EAD1-966E-48AE-E6CF1EFC1F07}"/>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2106FABF-B6B2-F482-40C8-94B98718DEE0}"/>
              </a:ext>
            </a:extLst>
          </p:cNvPr>
          <p:cNvSpPr>
            <a:spLocks noGrp="1"/>
          </p:cNvSpPr>
          <p:nvPr>
            <p:ph type="sldNum" sz="quarter" idx="11"/>
          </p:nvPr>
        </p:nvSpPr>
        <p:spPr/>
        <p:txBody>
          <a:bodyPr/>
          <a:lstStyle/>
          <a:p>
            <a:fld id="{23AA811B-2EBD-4900-905E-5BE206449611}" type="slidenum">
              <a:rPr lang="en-GB" smtClean="0"/>
              <a:pPr/>
              <a:t>‹#›</a:t>
            </a:fld>
            <a:endParaRPr lang="en-GB"/>
          </a:p>
        </p:txBody>
      </p:sp>
      <p:sp>
        <p:nvSpPr>
          <p:cNvPr id="5" name="Date Placeholder 4">
            <a:extLst>
              <a:ext uri="{FF2B5EF4-FFF2-40B4-BE49-F238E27FC236}">
                <a16:creationId xmlns:a16="http://schemas.microsoft.com/office/drawing/2014/main" id="{A56C5329-F541-101F-C0A1-0DD9EB19E124}"/>
              </a:ext>
            </a:extLst>
          </p:cNvPr>
          <p:cNvSpPr>
            <a:spLocks noGrp="1"/>
          </p:cNvSpPr>
          <p:nvPr>
            <p:ph type="dt" sz="half" idx="12"/>
          </p:nvPr>
        </p:nvSpPr>
        <p:spPr/>
        <p:txBody>
          <a:bodyPr/>
          <a:lstStyle/>
          <a:p>
            <a:fld id="{10263D6F-1D82-4E8C-9969-91EDFF089F84}" type="datetime4">
              <a:rPr lang="en-GB" smtClean="0"/>
              <a:t>20 February 2025</a:t>
            </a:fld>
            <a:endParaRPr lang="en-GB"/>
          </a:p>
        </p:txBody>
      </p:sp>
    </p:spTree>
    <p:extLst>
      <p:ext uri="{BB962C8B-B14F-4D97-AF65-F5344CB8AC3E}">
        <p14:creationId xmlns:p14="http://schemas.microsoft.com/office/powerpoint/2010/main" val="16852901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 C (dark image)">
    <p:bg>
      <p:bgPr>
        <a:solidFill>
          <a:schemeClr val="accent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6458698-0FF0-50B7-FAC1-726B38D56056}"/>
              </a:ext>
            </a:extLst>
          </p:cNvPr>
          <p:cNvSpPr>
            <a:spLocks noGrp="1"/>
          </p:cNvSpPr>
          <p:nvPr>
            <p:ph type="pic" sz="quarter" idx="18" hasCustomPrompt="1"/>
          </p:nvPr>
        </p:nvSpPr>
        <p:spPr>
          <a:xfrm>
            <a:off x="-2788" y="0"/>
            <a:ext cx="12195988" cy="6858000"/>
          </a:xfrm>
          <a:custGeom>
            <a:avLst/>
            <a:gdLst>
              <a:gd name="connsiteX0" fmla="*/ 0 w 12195988"/>
              <a:gd name="connsiteY0" fmla="*/ 0 h 6858000"/>
              <a:gd name="connsiteX1" fmla="*/ 2788 w 12195988"/>
              <a:gd name="connsiteY1" fmla="*/ 0 h 6858000"/>
              <a:gd name="connsiteX2" fmla="*/ 12193200 w 12195988"/>
              <a:gd name="connsiteY2" fmla="*/ 0 h 6858000"/>
              <a:gd name="connsiteX3" fmla="*/ 12194788 w 12195988"/>
              <a:gd name="connsiteY3" fmla="*/ 0 h 6858000"/>
              <a:gd name="connsiteX4" fmla="*/ 12195988 w 12195988"/>
              <a:gd name="connsiteY4" fmla="*/ 0 h 6858000"/>
              <a:gd name="connsiteX5" fmla="*/ 12195988 w 12195988"/>
              <a:gd name="connsiteY5" fmla="*/ 6858000 h 6858000"/>
              <a:gd name="connsiteX6" fmla="*/ 12194788 w 12195988"/>
              <a:gd name="connsiteY6" fmla="*/ 6858000 h 6858000"/>
              <a:gd name="connsiteX7" fmla="*/ 12193200 w 12195988"/>
              <a:gd name="connsiteY7" fmla="*/ 6858000 h 6858000"/>
              <a:gd name="connsiteX8" fmla="*/ 12192000 w 12195988"/>
              <a:gd name="connsiteY8" fmla="*/ 6858000 h 6858000"/>
              <a:gd name="connsiteX9" fmla="*/ 12192000 w 12195988"/>
              <a:gd name="connsiteY9" fmla="*/ 4238624 h 6858000"/>
              <a:gd name="connsiteX10" fmla="*/ 0 w 12195988"/>
              <a:gd name="connsiteY10" fmla="*/ 423862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5988" h="6858000">
                <a:moveTo>
                  <a:pt x="0" y="0"/>
                </a:moveTo>
                <a:lnTo>
                  <a:pt x="2788" y="0"/>
                </a:lnTo>
                <a:lnTo>
                  <a:pt x="12193200" y="0"/>
                </a:lnTo>
                <a:lnTo>
                  <a:pt x="12194788" y="0"/>
                </a:lnTo>
                <a:lnTo>
                  <a:pt x="12195988" y="0"/>
                </a:lnTo>
                <a:lnTo>
                  <a:pt x="12195988" y="6858000"/>
                </a:lnTo>
                <a:lnTo>
                  <a:pt x="12194788" y="6858000"/>
                </a:lnTo>
                <a:lnTo>
                  <a:pt x="12193200" y="6858000"/>
                </a:lnTo>
                <a:lnTo>
                  <a:pt x="12192000" y="6858000"/>
                </a:lnTo>
                <a:lnTo>
                  <a:pt x="12192000" y="4238624"/>
                </a:lnTo>
                <a:lnTo>
                  <a:pt x="0" y="4238624"/>
                </a:lnTo>
                <a:close/>
              </a:path>
            </a:pathLst>
          </a:custGeom>
          <a:solidFill>
            <a:schemeClr val="bg1">
              <a:lumMod val="85000"/>
            </a:schemeClr>
          </a:solidFill>
        </p:spPr>
        <p:txBody>
          <a:bodyPr wrap="square" bIns="648000" anchor="ctr">
            <a:noAutofit/>
          </a:bodyPr>
          <a:lstStyle>
            <a:lvl1pPr marL="126000" indent="0" algn="ctr">
              <a:buNone/>
              <a:defRPr/>
            </a:lvl1pPr>
          </a:lstStyle>
          <a:p>
            <a:r>
              <a:rPr lang="en-GB"/>
              <a:t>Click icon to add dark picture</a:t>
            </a:r>
          </a:p>
        </p:txBody>
      </p:sp>
      <p:pic>
        <p:nvPicPr>
          <p:cNvPr id="7" name="Graphic 6">
            <a:extLst>
              <a:ext uri="{FF2B5EF4-FFF2-40B4-BE49-F238E27FC236}">
                <a16:creationId xmlns:a16="http://schemas.microsoft.com/office/drawing/2014/main" id="{67520BDE-B7D1-23D5-300F-693DF685CD3E}"/>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0" y="4238625"/>
            <a:ext cx="12192000" cy="2619375"/>
          </a:xfrm>
          <a:prstGeom prst="rect">
            <a:avLst/>
          </a:prstGeom>
        </p:spPr>
      </p:pic>
      <p:sp>
        <p:nvSpPr>
          <p:cNvPr id="2" name="Title 1"/>
          <p:cNvSpPr>
            <a:spLocks noGrp="1"/>
          </p:cNvSpPr>
          <p:nvPr>
            <p:ph type="ctrTitle" hasCustomPrompt="1"/>
          </p:nvPr>
        </p:nvSpPr>
        <p:spPr bwMode="white">
          <a:xfrm>
            <a:off x="269875" y="271462"/>
            <a:ext cx="11650663" cy="2029777"/>
          </a:xfrm>
        </p:spPr>
        <p:txBody>
          <a:bodyPr anchor="t"/>
          <a:lstStyle>
            <a:lvl1pPr algn="l">
              <a:lnSpc>
                <a:spcPct val="90000"/>
              </a:lnSpc>
              <a:defRPr sz="7500">
                <a:solidFill>
                  <a:schemeClr val="bg1"/>
                </a:solidFill>
              </a:defRPr>
            </a:lvl1pPr>
          </a:lstStyle>
          <a:p>
            <a:r>
              <a:rPr lang="en-GB"/>
              <a:t>Click to add title</a:t>
            </a:r>
          </a:p>
        </p:txBody>
      </p:sp>
      <p:pic>
        <p:nvPicPr>
          <p:cNvPr id="24" name="Graphic 23">
            <a:extLst>
              <a:ext uri="{FF2B5EF4-FFF2-40B4-BE49-F238E27FC236}">
                <a16:creationId xmlns:a16="http://schemas.microsoft.com/office/drawing/2014/main" id="{FEA3BFCE-12E5-2C60-27A4-78E098AB4CEC}"/>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929938" y="6253163"/>
            <a:ext cx="1000125" cy="333375"/>
          </a:xfrm>
          <a:prstGeom prst="rect">
            <a:avLst/>
          </a:prstGeom>
        </p:spPr>
      </p:pic>
      <p:sp>
        <p:nvSpPr>
          <p:cNvPr id="27" name="Subtitle 2">
            <a:extLst>
              <a:ext uri="{FF2B5EF4-FFF2-40B4-BE49-F238E27FC236}">
                <a16:creationId xmlns:a16="http://schemas.microsoft.com/office/drawing/2014/main" id="{61B7D5FC-1EAC-298E-D828-AEE1FD7B5DD5}"/>
              </a:ext>
            </a:extLst>
          </p:cNvPr>
          <p:cNvSpPr>
            <a:spLocks noGrp="1"/>
          </p:cNvSpPr>
          <p:nvPr>
            <p:ph type="subTitle" idx="1" hasCustomPrompt="1"/>
          </p:nvPr>
        </p:nvSpPr>
        <p:spPr bwMode="white">
          <a:xfrm>
            <a:off x="269875" y="6429375"/>
            <a:ext cx="1971675" cy="157163"/>
          </a:xfrm>
        </p:spPr>
        <p:txBody>
          <a:bodyPr tIns="0"/>
          <a:lstStyle>
            <a:lvl1pPr marL="0" indent="0" algn="l">
              <a:lnSpc>
                <a:spcPct val="100000"/>
              </a:lnSpc>
              <a:spcBef>
                <a:spcPts val="0"/>
              </a:spcBef>
              <a:spcAft>
                <a:spcPts val="0"/>
              </a:spcAft>
              <a:buFont typeface="DFDS Sans" panose="00000500000000000000" pitchFamily="2" charset="0"/>
              <a:buChar char="​"/>
              <a:defRPr sz="1000">
                <a:solidFill>
                  <a:schemeClr val="bg1"/>
                </a:solidFill>
              </a:defRPr>
            </a:lvl1pPr>
            <a:lvl2pPr marL="0" indent="0" algn="l">
              <a:lnSpc>
                <a:spcPct val="100000"/>
              </a:lnSpc>
              <a:spcAft>
                <a:spcPts val="0"/>
              </a:spcAft>
              <a:buFont typeface="DFDS Sans" panose="00000500000000000000" pitchFamily="2" charset="0"/>
              <a:buNone/>
              <a:defRPr sz="1000" b="0">
                <a:solidFill>
                  <a:schemeClr val="bg1"/>
                </a:solidFill>
              </a:defRPr>
            </a:lvl2pPr>
            <a:lvl3pPr marL="0" indent="0" algn="l">
              <a:lnSpc>
                <a:spcPct val="100000"/>
              </a:lnSpc>
              <a:spcAft>
                <a:spcPts val="0"/>
              </a:spcAft>
              <a:buFont typeface="DFDS Sans" panose="00000500000000000000" pitchFamily="2" charset="0"/>
              <a:buChar char="​"/>
              <a:defRPr sz="1000" b="0">
                <a:solidFill>
                  <a:schemeClr val="bg1"/>
                </a:solidFill>
              </a:defRPr>
            </a:lvl3pPr>
            <a:lvl4pPr marL="0" indent="0" algn="l">
              <a:lnSpc>
                <a:spcPct val="100000"/>
              </a:lnSpc>
              <a:spcAft>
                <a:spcPts val="0"/>
              </a:spcAft>
              <a:buFont typeface="DFDS Sans" panose="00000500000000000000" pitchFamily="2" charset="0"/>
              <a:buChar char="​"/>
              <a:defRPr sz="1000" b="0">
                <a:solidFill>
                  <a:schemeClr val="bg1"/>
                </a:solidFill>
              </a:defRPr>
            </a:lvl4pPr>
            <a:lvl5pPr marL="0" indent="0" algn="l">
              <a:lnSpc>
                <a:spcPct val="100000"/>
              </a:lnSpc>
              <a:spcAft>
                <a:spcPts val="0"/>
              </a:spcAft>
              <a:buFont typeface="DFDS Sans" panose="00000500000000000000" pitchFamily="2" charset="0"/>
              <a:buChar char="​"/>
              <a:defRPr sz="1000" b="0">
                <a:solidFill>
                  <a:schemeClr val="bg1"/>
                </a:solidFill>
              </a:defRPr>
            </a:lvl5pPr>
            <a:lvl6pPr marL="0" indent="0" algn="l">
              <a:lnSpc>
                <a:spcPct val="100000"/>
              </a:lnSpc>
              <a:spcAft>
                <a:spcPts val="0"/>
              </a:spcAft>
              <a:buFont typeface="DFDS Sans" panose="00000500000000000000" pitchFamily="2" charset="0"/>
              <a:buChar char="​"/>
              <a:defRPr sz="1000" b="0">
                <a:solidFill>
                  <a:schemeClr val="bg1"/>
                </a:solidFill>
              </a:defRPr>
            </a:lvl6pPr>
            <a:lvl7pPr marL="0" indent="0" algn="l">
              <a:lnSpc>
                <a:spcPct val="100000"/>
              </a:lnSpc>
              <a:spcAft>
                <a:spcPts val="0"/>
              </a:spcAft>
              <a:buFont typeface="DFDS Sans" panose="00000500000000000000" pitchFamily="2" charset="0"/>
              <a:buChar char="​"/>
              <a:defRPr sz="1000" b="0">
                <a:solidFill>
                  <a:schemeClr val="bg1"/>
                </a:solidFill>
              </a:defRPr>
            </a:lvl7pPr>
            <a:lvl8pPr marL="0" indent="0" algn="l">
              <a:lnSpc>
                <a:spcPct val="100000"/>
              </a:lnSpc>
              <a:spcAft>
                <a:spcPts val="0"/>
              </a:spcAft>
              <a:buFont typeface="DFDS Sans" panose="00000500000000000000" pitchFamily="2" charset="0"/>
              <a:buChar char="​"/>
              <a:defRPr sz="1000" b="0">
                <a:solidFill>
                  <a:schemeClr val="bg1"/>
                </a:solidFill>
              </a:defRPr>
            </a:lvl8pPr>
            <a:lvl9pPr marL="0" indent="0" algn="l">
              <a:lnSpc>
                <a:spcPct val="100000"/>
              </a:lnSpc>
              <a:spcAft>
                <a:spcPts val="0"/>
              </a:spcAft>
              <a:buFont typeface="DFDS Sans" panose="00000500000000000000" pitchFamily="2" charset="0"/>
              <a:buChar char="​"/>
              <a:defRPr sz="1000" b="0">
                <a:solidFill>
                  <a:schemeClr val="bg1"/>
                </a:solidFill>
              </a:defRPr>
            </a:lvl9pPr>
          </a:lstStyle>
          <a:p>
            <a:r>
              <a:rPr lang="en-GB"/>
              <a:t>Click to add event name</a:t>
            </a:r>
          </a:p>
        </p:txBody>
      </p:sp>
      <p:sp>
        <p:nvSpPr>
          <p:cNvPr id="37" name="Date Placeholder 36">
            <a:extLst>
              <a:ext uri="{FF2B5EF4-FFF2-40B4-BE49-F238E27FC236}">
                <a16:creationId xmlns:a16="http://schemas.microsoft.com/office/drawing/2014/main" id="{FEB58EF0-72CE-E9B0-DAF2-2DAEE50ABF86}"/>
              </a:ext>
            </a:extLst>
          </p:cNvPr>
          <p:cNvSpPr>
            <a:spLocks noGrp="1"/>
          </p:cNvSpPr>
          <p:nvPr>
            <p:ph type="dt" sz="half" idx="19"/>
          </p:nvPr>
        </p:nvSpPr>
        <p:spPr bwMode="white">
          <a:xfrm>
            <a:off x="3227387" y="6442538"/>
            <a:ext cx="1792287" cy="144000"/>
          </a:xfrm>
        </p:spPr>
        <p:txBody>
          <a:bodyPr/>
          <a:lstStyle>
            <a:lvl1pPr>
              <a:defRPr>
                <a:solidFill>
                  <a:schemeClr val="bg1"/>
                </a:solidFill>
              </a:defRPr>
            </a:lvl1pPr>
          </a:lstStyle>
          <a:p>
            <a:fld id="{811B244C-65D0-416F-BBF6-121FD3322795}" type="datetime4">
              <a:rPr lang="en-GB" smtClean="0"/>
              <a:t>20 February 2025</a:t>
            </a:fld>
            <a:endParaRPr lang="en-GB"/>
          </a:p>
        </p:txBody>
      </p:sp>
    </p:spTree>
    <p:extLst>
      <p:ext uri="{BB962C8B-B14F-4D97-AF65-F5344CB8AC3E}">
        <p14:creationId xmlns:p14="http://schemas.microsoft.com/office/powerpoint/2010/main" val="297079418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ver C (light image)">
    <p:bg>
      <p:bgPr>
        <a:solidFill>
          <a:schemeClr val="accent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6458698-0FF0-50B7-FAC1-726B38D56056}"/>
              </a:ext>
            </a:extLst>
          </p:cNvPr>
          <p:cNvSpPr>
            <a:spLocks noGrp="1"/>
          </p:cNvSpPr>
          <p:nvPr>
            <p:ph type="pic" sz="quarter" idx="18" hasCustomPrompt="1"/>
          </p:nvPr>
        </p:nvSpPr>
        <p:spPr>
          <a:xfrm>
            <a:off x="-2788" y="0"/>
            <a:ext cx="12195988" cy="6858000"/>
          </a:xfrm>
          <a:custGeom>
            <a:avLst/>
            <a:gdLst>
              <a:gd name="connsiteX0" fmla="*/ 0 w 12195988"/>
              <a:gd name="connsiteY0" fmla="*/ 0 h 6858000"/>
              <a:gd name="connsiteX1" fmla="*/ 2788 w 12195988"/>
              <a:gd name="connsiteY1" fmla="*/ 0 h 6858000"/>
              <a:gd name="connsiteX2" fmla="*/ 12193200 w 12195988"/>
              <a:gd name="connsiteY2" fmla="*/ 0 h 6858000"/>
              <a:gd name="connsiteX3" fmla="*/ 12194788 w 12195988"/>
              <a:gd name="connsiteY3" fmla="*/ 0 h 6858000"/>
              <a:gd name="connsiteX4" fmla="*/ 12195988 w 12195988"/>
              <a:gd name="connsiteY4" fmla="*/ 0 h 6858000"/>
              <a:gd name="connsiteX5" fmla="*/ 12195988 w 12195988"/>
              <a:gd name="connsiteY5" fmla="*/ 6858000 h 6858000"/>
              <a:gd name="connsiteX6" fmla="*/ 12194788 w 12195988"/>
              <a:gd name="connsiteY6" fmla="*/ 6858000 h 6858000"/>
              <a:gd name="connsiteX7" fmla="*/ 12193200 w 12195988"/>
              <a:gd name="connsiteY7" fmla="*/ 6858000 h 6858000"/>
              <a:gd name="connsiteX8" fmla="*/ 12192000 w 12195988"/>
              <a:gd name="connsiteY8" fmla="*/ 6858000 h 6858000"/>
              <a:gd name="connsiteX9" fmla="*/ 12192000 w 12195988"/>
              <a:gd name="connsiteY9" fmla="*/ 4238624 h 6858000"/>
              <a:gd name="connsiteX10" fmla="*/ 0 w 12195988"/>
              <a:gd name="connsiteY10" fmla="*/ 423862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5988" h="6858000">
                <a:moveTo>
                  <a:pt x="0" y="0"/>
                </a:moveTo>
                <a:lnTo>
                  <a:pt x="2788" y="0"/>
                </a:lnTo>
                <a:lnTo>
                  <a:pt x="12193200" y="0"/>
                </a:lnTo>
                <a:lnTo>
                  <a:pt x="12194788" y="0"/>
                </a:lnTo>
                <a:lnTo>
                  <a:pt x="12195988" y="0"/>
                </a:lnTo>
                <a:lnTo>
                  <a:pt x="12195988" y="6858000"/>
                </a:lnTo>
                <a:lnTo>
                  <a:pt x="12194788" y="6858000"/>
                </a:lnTo>
                <a:lnTo>
                  <a:pt x="12193200" y="6858000"/>
                </a:lnTo>
                <a:lnTo>
                  <a:pt x="12192000" y="6858000"/>
                </a:lnTo>
                <a:lnTo>
                  <a:pt x="12192000" y="4238624"/>
                </a:lnTo>
                <a:lnTo>
                  <a:pt x="0" y="4238624"/>
                </a:lnTo>
                <a:close/>
              </a:path>
            </a:pathLst>
          </a:custGeom>
          <a:solidFill>
            <a:schemeClr val="bg1">
              <a:lumMod val="95000"/>
            </a:schemeClr>
          </a:solidFill>
        </p:spPr>
        <p:txBody>
          <a:bodyPr wrap="square" bIns="648000" anchor="ctr">
            <a:noAutofit/>
          </a:bodyPr>
          <a:lstStyle>
            <a:lvl1pPr marL="126000" indent="0" algn="ctr">
              <a:buNone/>
              <a:defRPr/>
            </a:lvl1pPr>
          </a:lstStyle>
          <a:p>
            <a:r>
              <a:rPr lang="en-GB"/>
              <a:t>Click icon to add light picture</a:t>
            </a:r>
          </a:p>
        </p:txBody>
      </p:sp>
      <p:pic>
        <p:nvPicPr>
          <p:cNvPr id="7" name="Graphic 6">
            <a:extLst>
              <a:ext uri="{FF2B5EF4-FFF2-40B4-BE49-F238E27FC236}">
                <a16:creationId xmlns:a16="http://schemas.microsoft.com/office/drawing/2014/main" id="{67520BDE-B7D1-23D5-300F-693DF685CD3E}"/>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0" y="4238625"/>
            <a:ext cx="12192000" cy="2619375"/>
          </a:xfrm>
          <a:prstGeom prst="rect">
            <a:avLst/>
          </a:prstGeom>
        </p:spPr>
      </p:pic>
      <p:sp>
        <p:nvSpPr>
          <p:cNvPr id="2" name="Title 1"/>
          <p:cNvSpPr>
            <a:spLocks noGrp="1"/>
          </p:cNvSpPr>
          <p:nvPr>
            <p:ph type="ctrTitle" hasCustomPrompt="1"/>
          </p:nvPr>
        </p:nvSpPr>
        <p:spPr>
          <a:xfrm>
            <a:off x="269875" y="271462"/>
            <a:ext cx="11650663" cy="2029777"/>
          </a:xfrm>
        </p:spPr>
        <p:txBody>
          <a:bodyPr anchor="t"/>
          <a:lstStyle>
            <a:lvl1pPr algn="l">
              <a:lnSpc>
                <a:spcPct val="90000"/>
              </a:lnSpc>
              <a:defRPr sz="7500">
                <a:solidFill>
                  <a:schemeClr val="accent1"/>
                </a:solidFill>
              </a:defRPr>
            </a:lvl1pPr>
          </a:lstStyle>
          <a:p>
            <a:r>
              <a:rPr lang="en-GB"/>
              <a:t>Click to add title</a:t>
            </a:r>
          </a:p>
        </p:txBody>
      </p:sp>
      <p:pic>
        <p:nvPicPr>
          <p:cNvPr id="24" name="Graphic 23">
            <a:extLst>
              <a:ext uri="{FF2B5EF4-FFF2-40B4-BE49-F238E27FC236}">
                <a16:creationId xmlns:a16="http://schemas.microsoft.com/office/drawing/2014/main" id="{FEA3BFCE-12E5-2C60-27A4-78E098AB4CEC}"/>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929938" y="6253163"/>
            <a:ext cx="1000125" cy="333375"/>
          </a:xfrm>
          <a:prstGeom prst="rect">
            <a:avLst/>
          </a:prstGeom>
        </p:spPr>
      </p:pic>
      <p:sp>
        <p:nvSpPr>
          <p:cNvPr id="27" name="Subtitle 2">
            <a:extLst>
              <a:ext uri="{FF2B5EF4-FFF2-40B4-BE49-F238E27FC236}">
                <a16:creationId xmlns:a16="http://schemas.microsoft.com/office/drawing/2014/main" id="{61B7D5FC-1EAC-298E-D828-AEE1FD7B5DD5}"/>
              </a:ext>
            </a:extLst>
          </p:cNvPr>
          <p:cNvSpPr>
            <a:spLocks noGrp="1"/>
          </p:cNvSpPr>
          <p:nvPr>
            <p:ph type="subTitle" idx="1" hasCustomPrompt="1"/>
          </p:nvPr>
        </p:nvSpPr>
        <p:spPr bwMode="white">
          <a:xfrm>
            <a:off x="269875" y="6429375"/>
            <a:ext cx="1971675" cy="157163"/>
          </a:xfrm>
        </p:spPr>
        <p:txBody>
          <a:bodyPr tIns="0"/>
          <a:lstStyle>
            <a:lvl1pPr marL="0" indent="0" algn="l">
              <a:lnSpc>
                <a:spcPct val="100000"/>
              </a:lnSpc>
              <a:spcBef>
                <a:spcPts val="0"/>
              </a:spcBef>
              <a:spcAft>
                <a:spcPts val="0"/>
              </a:spcAft>
              <a:buFont typeface="DFDS Sans" panose="00000500000000000000" pitchFamily="2" charset="0"/>
              <a:buChar char="​"/>
              <a:defRPr sz="1000">
                <a:solidFill>
                  <a:schemeClr val="bg1"/>
                </a:solidFill>
              </a:defRPr>
            </a:lvl1pPr>
            <a:lvl2pPr marL="0" indent="0" algn="l">
              <a:lnSpc>
                <a:spcPct val="100000"/>
              </a:lnSpc>
              <a:spcAft>
                <a:spcPts val="0"/>
              </a:spcAft>
              <a:buFont typeface="DFDS Sans" panose="00000500000000000000" pitchFamily="2" charset="0"/>
              <a:buNone/>
              <a:defRPr sz="1000" b="0">
                <a:solidFill>
                  <a:schemeClr val="bg1"/>
                </a:solidFill>
              </a:defRPr>
            </a:lvl2pPr>
            <a:lvl3pPr marL="0" indent="0" algn="l">
              <a:lnSpc>
                <a:spcPct val="100000"/>
              </a:lnSpc>
              <a:spcAft>
                <a:spcPts val="0"/>
              </a:spcAft>
              <a:buFont typeface="DFDS Sans" panose="00000500000000000000" pitchFamily="2" charset="0"/>
              <a:buChar char="​"/>
              <a:defRPr sz="1000" b="0">
                <a:solidFill>
                  <a:schemeClr val="bg1"/>
                </a:solidFill>
              </a:defRPr>
            </a:lvl3pPr>
            <a:lvl4pPr marL="0" indent="0" algn="l">
              <a:lnSpc>
                <a:spcPct val="100000"/>
              </a:lnSpc>
              <a:spcAft>
                <a:spcPts val="0"/>
              </a:spcAft>
              <a:buFont typeface="DFDS Sans" panose="00000500000000000000" pitchFamily="2" charset="0"/>
              <a:buChar char="​"/>
              <a:defRPr sz="1000" b="0">
                <a:solidFill>
                  <a:schemeClr val="bg1"/>
                </a:solidFill>
              </a:defRPr>
            </a:lvl4pPr>
            <a:lvl5pPr marL="0" indent="0" algn="l">
              <a:lnSpc>
                <a:spcPct val="100000"/>
              </a:lnSpc>
              <a:spcAft>
                <a:spcPts val="0"/>
              </a:spcAft>
              <a:buFont typeface="DFDS Sans" panose="00000500000000000000" pitchFamily="2" charset="0"/>
              <a:buChar char="​"/>
              <a:defRPr sz="1000" b="0">
                <a:solidFill>
                  <a:schemeClr val="bg1"/>
                </a:solidFill>
              </a:defRPr>
            </a:lvl5pPr>
            <a:lvl6pPr marL="0" indent="0" algn="l">
              <a:lnSpc>
                <a:spcPct val="100000"/>
              </a:lnSpc>
              <a:spcAft>
                <a:spcPts val="0"/>
              </a:spcAft>
              <a:buFont typeface="DFDS Sans" panose="00000500000000000000" pitchFamily="2" charset="0"/>
              <a:buChar char="​"/>
              <a:defRPr sz="1000" b="0">
                <a:solidFill>
                  <a:schemeClr val="bg1"/>
                </a:solidFill>
              </a:defRPr>
            </a:lvl6pPr>
            <a:lvl7pPr marL="0" indent="0" algn="l">
              <a:lnSpc>
                <a:spcPct val="100000"/>
              </a:lnSpc>
              <a:spcAft>
                <a:spcPts val="0"/>
              </a:spcAft>
              <a:buFont typeface="DFDS Sans" panose="00000500000000000000" pitchFamily="2" charset="0"/>
              <a:buChar char="​"/>
              <a:defRPr sz="1000" b="0">
                <a:solidFill>
                  <a:schemeClr val="bg1"/>
                </a:solidFill>
              </a:defRPr>
            </a:lvl7pPr>
            <a:lvl8pPr marL="0" indent="0" algn="l">
              <a:lnSpc>
                <a:spcPct val="100000"/>
              </a:lnSpc>
              <a:spcAft>
                <a:spcPts val="0"/>
              </a:spcAft>
              <a:buFont typeface="DFDS Sans" panose="00000500000000000000" pitchFamily="2" charset="0"/>
              <a:buChar char="​"/>
              <a:defRPr sz="1000" b="0">
                <a:solidFill>
                  <a:schemeClr val="bg1"/>
                </a:solidFill>
              </a:defRPr>
            </a:lvl8pPr>
            <a:lvl9pPr marL="0" indent="0" algn="l">
              <a:lnSpc>
                <a:spcPct val="100000"/>
              </a:lnSpc>
              <a:spcAft>
                <a:spcPts val="0"/>
              </a:spcAft>
              <a:buFont typeface="DFDS Sans" panose="00000500000000000000" pitchFamily="2" charset="0"/>
              <a:buChar char="​"/>
              <a:defRPr sz="1000" b="0">
                <a:solidFill>
                  <a:schemeClr val="bg1"/>
                </a:solidFill>
              </a:defRPr>
            </a:lvl9pPr>
          </a:lstStyle>
          <a:p>
            <a:r>
              <a:rPr lang="en-GB"/>
              <a:t>Click to add event name</a:t>
            </a:r>
          </a:p>
        </p:txBody>
      </p:sp>
      <p:sp>
        <p:nvSpPr>
          <p:cNvPr id="37" name="Date Placeholder 36">
            <a:extLst>
              <a:ext uri="{FF2B5EF4-FFF2-40B4-BE49-F238E27FC236}">
                <a16:creationId xmlns:a16="http://schemas.microsoft.com/office/drawing/2014/main" id="{FEB58EF0-72CE-E9B0-DAF2-2DAEE50ABF86}"/>
              </a:ext>
            </a:extLst>
          </p:cNvPr>
          <p:cNvSpPr>
            <a:spLocks noGrp="1"/>
          </p:cNvSpPr>
          <p:nvPr>
            <p:ph type="dt" sz="half" idx="19"/>
          </p:nvPr>
        </p:nvSpPr>
        <p:spPr bwMode="white">
          <a:xfrm>
            <a:off x="3227387" y="6442538"/>
            <a:ext cx="1792287" cy="144000"/>
          </a:xfrm>
        </p:spPr>
        <p:txBody>
          <a:bodyPr/>
          <a:lstStyle>
            <a:lvl1pPr>
              <a:defRPr>
                <a:solidFill>
                  <a:schemeClr val="bg1"/>
                </a:solidFill>
              </a:defRPr>
            </a:lvl1pPr>
          </a:lstStyle>
          <a:p>
            <a:fld id="{EB5283B3-0DA4-4617-92EE-0BE1BE190D05}" type="datetime4">
              <a:rPr lang="en-GB" smtClean="0"/>
              <a:t>20 February 2025</a:t>
            </a:fld>
            <a:endParaRPr lang="en-GB"/>
          </a:p>
        </p:txBody>
      </p:sp>
    </p:spTree>
    <p:extLst>
      <p:ext uri="{BB962C8B-B14F-4D97-AF65-F5344CB8AC3E}">
        <p14:creationId xmlns:p14="http://schemas.microsoft.com/office/powerpoint/2010/main" val="325313998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ver D (dark image)">
    <p:bg>
      <p:bgPr>
        <a:solidFill>
          <a:schemeClr val="accent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11620E09-15BE-6BF1-DAE6-B5DECAE505F8}"/>
              </a:ext>
            </a:extLst>
          </p:cNvPr>
          <p:cNvSpPr>
            <a:spLocks noGrp="1"/>
          </p:cNvSpPr>
          <p:nvPr>
            <p:ph type="pic" sz="quarter" idx="18" hasCustomPrompt="1"/>
          </p:nvPr>
        </p:nvSpPr>
        <p:spPr>
          <a:xfrm>
            <a:off x="-2788" y="0"/>
            <a:ext cx="12195988" cy="6858000"/>
          </a:xfrm>
          <a:custGeom>
            <a:avLst/>
            <a:gdLst>
              <a:gd name="connsiteX0" fmla="*/ 0 w 12195988"/>
              <a:gd name="connsiteY0" fmla="*/ 0 h 6858000"/>
              <a:gd name="connsiteX1" fmla="*/ 2788 w 12195988"/>
              <a:gd name="connsiteY1" fmla="*/ 0 h 6858000"/>
              <a:gd name="connsiteX2" fmla="*/ 12193200 w 12195988"/>
              <a:gd name="connsiteY2" fmla="*/ 0 h 6858000"/>
              <a:gd name="connsiteX3" fmla="*/ 12194788 w 12195988"/>
              <a:gd name="connsiteY3" fmla="*/ 0 h 6858000"/>
              <a:gd name="connsiteX4" fmla="*/ 12195988 w 12195988"/>
              <a:gd name="connsiteY4" fmla="*/ 0 h 6858000"/>
              <a:gd name="connsiteX5" fmla="*/ 12195988 w 12195988"/>
              <a:gd name="connsiteY5" fmla="*/ 6858000 h 6858000"/>
              <a:gd name="connsiteX6" fmla="*/ 12194788 w 12195988"/>
              <a:gd name="connsiteY6" fmla="*/ 6858000 h 6858000"/>
              <a:gd name="connsiteX7" fmla="*/ 12193200 w 12195988"/>
              <a:gd name="connsiteY7" fmla="*/ 6858000 h 6858000"/>
              <a:gd name="connsiteX8" fmla="*/ 2788 w 12195988"/>
              <a:gd name="connsiteY8" fmla="*/ 6858000 h 6858000"/>
              <a:gd name="connsiteX9" fmla="*/ 0 w 12195988"/>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5988" h="6858000">
                <a:moveTo>
                  <a:pt x="0" y="0"/>
                </a:moveTo>
                <a:lnTo>
                  <a:pt x="2788" y="0"/>
                </a:lnTo>
                <a:lnTo>
                  <a:pt x="12193200" y="0"/>
                </a:lnTo>
                <a:lnTo>
                  <a:pt x="12194788" y="0"/>
                </a:lnTo>
                <a:lnTo>
                  <a:pt x="12195988" y="0"/>
                </a:lnTo>
                <a:lnTo>
                  <a:pt x="12195988" y="6858000"/>
                </a:lnTo>
                <a:lnTo>
                  <a:pt x="12194788" y="6858000"/>
                </a:lnTo>
                <a:lnTo>
                  <a:pt x="12193200" y="6858000"/>
                </a:lnTo>
                <a:lnTo>
                  <a:pt x="2788" y="6858000"/>
                </a:lnTo>
                <a:lnTo>
                  <a:pt x="0" y="6858000"/>
                </a:lnTo>
                <a:close/>
              </a:path>
            </a:pathLst>
          </a:custGeom>
          <a:solidFill>
            <a:schemeClr val="bg1">
              <a:lumMod val="85000"/>
            </a:schemeClr>
          </a:solidFill>
        </p:spPr>
        <p:txBody>
          <a:bodyPr wrap="square" bIns="648000" anchor="ctr">
            <a:noAutofit/>
          </a:bodyPr>
          <a:lstStyle>
            <a:lvl1pPr marL="126000" indent="0" algn="ctr">
              <a:buNone/>
              <a:defRPr/>
            </a:lvl1pPr>
          </a:lstStyle>
          <a:p>
            <a:r>
              <a:rPr lang="en-GB"/>
              <a:t>Click icon to add dark picture</a:t>
            </a:r>
          </a:p>
        </p:txBody>
      </p:sp>
      <p:sp>
        <p:nvSpPr>
          <p:cNvPr id="2" name="Title 1"/>
          <p:cNvSpPr>
            <a:spLocks noGrp="1"/>
          </p:cNvSpPr>
          <p:nvPr>
            <p:ph type="ctrTitle" hasCustomPrompt="1"/>
          </p:nvPr>
        </p:nvSpPr>
        <p:spPr bwMode="white">
          <a:xfrm>
            <a:off x="269875" y="271462"/>
            <a:ext cx="11650663" cy="2029777"/>
          </a:xfrm>
        </p:spPr>
        <p:txBody>
          <a:bodyPr anchor="t"/>
          <a:lstStyle>
            <a:lvl1pPr algn="l">
              <a:lnSpc>
                <a:spcPct val="90000"/>
              </a:lnSpc>
              <a:defRPr sz="7500">
                <a:solidFill>
                  <a:schemeClr val="bg1"/>
                </a:solidFill>
              </a:defRPr>
            </a:lvl1pPr>
          </a:lstStyle>
          <a:p>
            <a:r>
              <a:rPr lang="en-GB"/>
              <a:t>Click to add title</a:t>
            </a:r>
          </a:p>
        </p:txBody>
      </p:sp>
      <p:sp>
        <p:nvSpPr>
          <p:cNvPr id="27" name="Subtitle 2">
            <a:extLst>
              <a:ext uri="{FF2B5EF4-FFF2-40B4-BE49-F238E27FC236}">
                <a16:creationId xmlns:a16="http://schemas.microsoft.com/office/drawing/2014/main" id="{61B7D5FC-1EAC-298E-D828-AEE1FD7B5DD5}"/>
              </a:ext>
            </a:extLst>
          </p:cNvPr>
          <p:cNvSpPr>
            <a:spLocks noGrp="1"/>
          </p:cNvSpPr>
          <p:nvPr>
            <p:ph type="subTitle" idx="1" hasCustomPrompt="1"/>
          </p:nvPr>
        </p:nvSpPr>
        <p:spPr bwMode="white">
          <a:xfrm>
            <a:off x="269875" y="6429375"/>
            <a:ext cx="1971675" cy="157163"/>
          </a:xfrm>
        </p:spPr>
        <p:txBody>
          <a:bodyPr tIns="0"/>
          <a:lstStyle>
            <a:lvl1pPr marL="0" indent="0" algn="l">
              <a:lnSpc>
                <a:spcPct val="100000"/>
              </a:lnSpc>
              <a:spcBef>
                <a:spcPts val="0"/>
              </a:spcBef>
              <a:spcAft>
                <a:spcPts val="0"/>
              </a:spcAft>
              <a:buFont typeface="DFDS Sans" panose="00000500000000000000" pitchFamily="2" charset="0"/>
              <a:buChar char="​"/>
              <a:defRPr sz="1000">
                <a:solidFill>
                  <a:schemeClr val="bg1"/>
                </a:solidFill>
              </a:defRPr>
            </a:lvl1pPr>
            <a:lvl2pPr marL="0" indent="0" algn="l">
              <a:lnSpc>
                <a:spcPct val="100000"/>
              </a:lnSpc>
              <a:spcAft>
                <a:spcPts val="0"/>
              </a:spcAft>
              <a:buFont typeface="DFDS Sans" panose="00000500000000000000" pitchFamily="2" charset="0"/>
              <a:buNone/>
              <a:defRPr sz="1000" b="0">
                <a:solidFill>
                  <a:schemeClr val="bg1"/>
                </a:solidFill>
              </a:defRPr>
            </a:lvl2pPr>
            <a:lvl3pPr marL="0" indent="0" algn="l">
              <a:lnSpc>
                <a:spcPct val="100000"/>
              </a:lnSpc>
              <a:spcAft>
                <a:spcPts val="0"/>
              </a:spcAft>
              <a:buFont typeface="DFDS Sans" panose="00000500000000000000" pitchFamily="2" charset="0"/>
              <a:buChar char="​"/>
              <a:defRPr sz="1000" b="0">
                <a:solidFill>
                  <a:schemeClr val="bg1"/>
                </a:solidFill>
              </a:defRPr>
            </a:lvl3pPr>
            <a:lvl4pPr marL="0" indent="0" algn="l">
              <a:lnSpc>
                <a:spcPct val="100000"/>
              </a:lnSpc>
              <a:spcAft>
                <a:spcPts val="0"/>
              </a:spcAft>
              <a:buFont typeface="DFDS Sans" panose="00000500000000000000" pitchFamily="2" charset="0"/>
              <a:buChar char="​"/>
              <a:defRPr sz="1000" b="0">
                <a:solidFill>
                  <a:schemeClr val="bg1"/>
                </a:solidFill>
              </a:defRPr>
            </a:lvl4pPr>
            <a:lvl5pPr marL="0" indent="0" algn="l">
              <a:lnSpc>
                <a:spcPct val="100000"/>
              </a:lnSpc>
              <a:spcAft>
                <a:spcPts val="0"/>
              </a:spcAft>
              <a:buFont typeface="DFDS Sans" panose="00000500000000000000" pitchFamily="2" charset="0"/>
              <a:buChar char="​"/>
              <a:defRPr sz="1000" b="0">
                <a:solidFill>
                  <a:schemeClr val="bg1"/>
                </a:solidFill>
              </a:defRPr>
            </a:lvl5pPr>
            <a:lvl6pPr marL="0" indent="0" algn="l">
              <a:lnSpc>
                <a:spcPct val="100000"/>
              </a:lnSpc>
              <a:spcAft>
                <a:spcPts val="0"/>
              </a:spcAft>
              <a:buFont typeface="DFDS Sans" panose="00000500000000000000" pitchFamily="2" charset="0"/>
              <a:buChar char="​"/>
              <a:defRPr sz="1000" b="0">
                <a:solidFill>
                  <a:schemeClr val="bg1"/>
                </a:solidFill>
              </a:defRPr>
            </a:lvl6pPr>
            <a:lvl7pPr marL="0" indent="0" algn="l">
              <a:lnSpc>
                <a:spcPct val="100000"/>
              </a:lnSpc>
              <a:spcAft>
                <a:spcPts val="0"/>
              </a:spcAft>
              <a:buFont typeface="DFDS Sans" panose="00000500000000000000" pitchFamily="2" charset="0"/>
              <a:buChar char="​"/>
              <a:defRPr sz="1000" b="0">
                <a:solidFill>
                  <a:schemeClr val="bg1"/>
                </a:solidFill>
              </a:defRPr>
            </a:lvl7pPr>
            <a:lvl8pPr marL="0" indent="0" algn="l">
              <a:lnSpc>
                <a:spcPct val="100000"/>
              </a:lnSpc>
              <a:spcAft>
                <a:spcPts val="0"/>
              </a:spcAft>
              <a:buFont typeface="DFDS Sans" panose="00000500000000000000" pitchFamily="2" charset="0"/>
              <a:buChar char="​"/>
              <a:defRPr sz="1000" b="0">
                <a:solidFill>
                  <a:schemeClr val="bg1"/>
                </a:solidFill>
              </a:defRPr>
            </a:lvl8pPr>
            <a:lvl9pPr marL="0" indent="0" algn="l">
              <a:lnSpc>
                <a:spcPct val="100000"/>
              </a:lnSpc>
              <a:spcAft>
                <a:spcPts val="0"/>
              </a:spcAft>
              <a:buFont typeface="DFDS Sans" panose="00000500000000000000" pitchFamily="2" charset="0"/>
              <a:buChar char="​"/>
              <a:defRPr sz="1000" b="0">
                <a:solidFill>
                  <a:schemeClr val="bg1"/>
                </a:solidFill>
              </a:defRPr>
            </a:lvl9pPr>
          </a:lstStyle>
          <a:p>
            <a:r>
              <a:rPr lang="en-GB"/>
              <a:t>Click to add event name</a:t>
            </a:r>
          </a:p>
        </p:txBody>
      </p:sp>
      <p:sp>
        <p:nvSpPr>
          <p:cNvPr id="37" name="Date Placeholder 36">
            <a:extLst>
              <a:ext uri="{FF2B5EF4-FFF2-40B4-BE49-F238E27FC236}">
                <a16:creationId xmlns:a16="http://schemas.microsoft.com/office/drawing/2014/main" id="{FEB58EF0-72CE-E9B0-DAF2-2DAEE50ABF86}"/>
              </a:ext>
            </a:extLst>
          </p:cNvPr>
          <p:cNvSpPr>
            <a:spLocks noGrp="1"/>
          </p:cNvSpPr>
          <p:nvPr>
            <p:ph type="dt" sz="half" idx="19"/>
          </p:nvPr>
        </p:nvSpPr>
        <p:spPr bwMode="white">
          <a:xfrm>
            <a:off x="3227387" y="6442538"/>
            <a:ext cx="1792287" cy="144000"/>
          </a:xfrm>
        </p:spPr>
        <p:txBody>
          <a:bodyPr/>
          <a:lstStyle>
            <a:lvl1pPr>
              <a:defRPr>
                <a:solidFill>
                  <a:schemeClr val="bg1"/>
                </a:solidFill>
              </a:defRPr>
            </a:lvl1pPr>
          </a:lstStyle>
          <a:p>
            <a:fld id="{E1485E06-15CE-441C-B0FF-3D57A3532074}" type="datetime4">
              <a:rPr lang="en-GB" smtClean="0"/>
              <a:t>20 February 2025</a:t>
            </a:fld>
            <a:endParaRPr lang="en-GB"/>
          </a:p>
        </p:txBody>
      </p:sp>
      <p:sp>
        <p:nvSpPr>
          <p:cNvPr id="14" name="Text Placeholder 13">
            <a:extLst>
              <a:ext uri="{FF2B5EF4-FFF2-40B4-BE49-F238E27FC236}">
                <a16:creationId xmlns:a16="http://schemas.microsoft.com/office/drawing/2014/main" id="{54EB5721-0BA3-67B2-26CF-5323E47AC805}"/>
              </a:ext>
            </a:extLst>
          </p:cNvPr>
          <p:cNvSpPr>
            <a:spLocks noGrp="1"/>
          </p:cNvSpPr>
          <p:nvPr>
            <p:ph type="body" sz="quarter" idx="20" hasCustomPrompt="1"/>
          </p:nvPr>
        </p:nvSpPr>
        <p:spPr bwMode="white">
          <a:xfrm>
            <a:off x="10929943" y="6253136"/>
            <a:ext cx="991080" cy="333436"/>
          </a:xfrm>
          <a:custGeom>
            <a:avLst/>
            <a:gdLst>
              <a:gd name="connsiteX0" fmla="*/ 777113 w 991080"/>
              <a:gd name="connsiteY0" fmla="*/ 120969 h 333436"/>
              <a:gd name="connsiteX1" fmla="*/ 777113 w 991080"/>
              <a:gd name="connsiteY1" fmla="*/ 212441 h 333436"/>
              <a:gd name="connsiteX2" fmla="*/ 814693 w 991080"/>
              <a:gd name="connsiteY2" fmla="*/ 212441 h 333436"/>
              <a:gd name="connsiteX3" fmla="*/ 829575 w 991080"/>
              <a:gd name="connsiteY3" fmla="*/ 197054 h 333436"/>
              <a:gd name="connsiteX4" fmla="*/ 829575 w 991080"/>
              <a:gd name="connsiteY4" fmla="*/ 136370 h 333436"/>
              <a:gd name="connsiteX5" fmla="*/ 814693 w 991080"/>
              <a:gd name="connsiteY5" fmla="*/ 120969 h 333436"/>
              <a:gd name="connsiteX6" fmla="*/ 511966 w 991080"/>
              <a:gd name="connsiteY6" fmla="*/ 120969 h 333436"/>
              <a:gd name="connsiteX7" fmla="*/ 511966 w 991080"/>
              <a:gd name="connsiteY7" fmla="*/ 212441 h 333436"/>
              <a:gd name="connsiteX8" fmla="*/ 549546 w 991080"/>
              <a:gd name="connsiteY8" fmla="*/ 212441 h 333436"/>
              <a:gd name="connsiteX9" fmla="*/ 564426 w 991080"/>
              <a:gd name="connsiteY9" fmla="*/ 197054 h 333436"/>
              <a:gd name="connsiteX10" fmla="*/ 564426 w 991080"/>
              <a:gd name="connsiteY10" fmla="*/ 136370 h 333436"/>
              <a:gd name="connsiteX11" fmla="*/ 549546 w 991080"/>
              <a:gd name="connsiteY11" fmla="*/ 120969 h 333436"/>
              <a:gd name="connsiteX12" fmla="*/ 191228 w 991080"/>
              <a:gd name="connsiteY12" fmla="*/ 89978 h 333436"/>
              <a:gd name="connsiteX13" fmla="*/ 190277 w 991080"/>
              <a:gd name="connsiteY13" fmla="*/ 90227 h 333436"/>
              <a:gd name="connsiteX14" fmla="*/ 189581 w 991080"/>
              <a:gd name="connsiteY14" fmla="*/ 90906 h 333436"/>
              <a:gd name="connsiteX15" fmla="*/ 189323 w 991080"/>
              <a:gd name="connsiteY15" fmla="*/ 91832 h 333436"/>
              <a:gd name="connsiteX16" fmla="*/ 189575 w 991080"/>
              <a:gd name="connsiteY16" fmla="*/ 92760 h 333436"/>
              <a:gd name="connsiteX17" fmla="*/ 225952 w 991080"/>
              <a:gd name="connsiteY17" fmla="*/ 154132 h 333436"/>
              <a:gd name="connsiteX18" fmla="*/ 162923 w 991080"/>
              <a:gd name="connsiteY18" fmla="*/ 118717 h 333436"/>
              <a:gd name="connsiteX19" fmla="*/ 161970 w 991080"/>
              <a:gd name="connsiteY19" fmla="*/ 118472 h 333436"/>
              <a:gd name="connsiteX20" fmla="*/ 161020 w 991080"/>
              <a:gd name="connsiteY20" fmla="*/ 118722 h 333436"/>
              <a:gd name="connsiteX21" fmla="*/ 160324 w 991080"/>
              <a:gd name="connsiteY21" fmla="*/ 119401 h 333436"/>
              <a:gd name="connsiteX22" fmla="*/ 160067 w 991080"/>
              <a:gd name="connsiteY22" fmla="*/ 120328 h 333436"/>
              <a:gd name="connsiteX23" fmla="*/ 160067 w 991080"/>
              <a:gd name="connsiteY23" fmla="*/ 213103 h 333436"/>
              <a:gd name="connsiteX24" fmla="*/ 160324 w 991080"/>
              <a:gd name="connsiteY24" fmla="*/ 214030 h 333436"/>
              <a:gd name="connsiteX25" fmla="*/ 161020 w 991080"/>
              <a:gd name="connsiteY25" fmla="*/ 214708 h 333436"/>
              <a:gd name="connsiteX26" fmla="*/ 161970 w 991080"/>
              <a:gd name="connsiteY26" fmla="*/ 214959 h 333436"/>
              <a:gd name="connsiteX27" fmla="*/ 162923 w 991080"/>
              <a:gd name="connsiteY27" fmla="*/ 214714 h 333436"/>
              <a:gd name="connsiteX28" fmla="*/ 225952 w 991080"/>
              <a:gd name="connsiteY28" fmla="*/ 179299 h 333436"/>
              <a:gd name="connsiteX29" fmla="*/ 189635 w 991080"/>
              <a:gd name="connsiteY29" fmla="*/ 240670 h 333436"/>
              <a:gd name="connsiteX30" fmla="*/ 189383 w 991080"/>
              <a:gd name="connsiteY30" fmla="*/ 241598 h 333436"/>
              <a:gd name="connsiteX31" fmla="*/ 189641 w 991080"/>
              <a:gd name="connsiteY31" fmla="*/ 242525 h 333436"/>
              <a:gd name="connsiteX32" fmla="*/ 190337 w 991080"/>
              <a:gd name="connsiteY32" fmla="*/ 243203 h 333436"/>
              <a:gd name="connsiteX33" fmla="*/ 191288 w 991080"/>
              <a:gd name="connsiteY33" fmla="*/ 243453 h 333436"/>
              <a:gd name="connsiteX34" fmla="*/ 286486 w 991080"/>
              <a:gd name="connsiteY34" fmla="*/ 243453 h 333436"/>
              <a:gd name="connsiteX35" fmla="*/ 287437 w 991080"/>
              <a:gd name="connsiteY35" fmla="*/ 243203 h 333436"/>
              <a:gd name="connsiteX36" fmla="*/ 288134 w 991080"/>
              <a:gd name="connsiteY36" fmla="*/ 242525 h 333436"/>
              <a:gd name="connsiteX37" fmla="*/ 288391 w 991080"/>
              <a:gd name="connsiteY37" fmla="*/ 241598 h 333436"/>
              <a:gd name="connsiteX38" fmla="*/ 288139 w 991080"/>
              <a:gd name="connsiteY38" fmla="*/ 240670 h 333436"/>
              <a:gd name="connsiteX39" fmla="*/ 251777 w 991080"/>
              <a:gd name="connsiteY39" fmla="*/ 179299 h 333436"/>
              <a:gd name="connsiteX40" fmla="*/ 314790 w 991080"/>
              <a:gd name="connsiteY40" fmla="*/ 214714 h 333436"/>
              <a:gd name="connsiteX41" fmla="*/ 315745 w 991080"/>
              <a:gd name="connsiteY41" fmla="*/ 214969 h 333436"/>
              <a:gd name="connsiteX42" fmla="*/ 316702 w 991080"/>
              <a:gd name="connsiteY42" fmla="*/ 214721 h 333436"/>
              <a:gd name="connsiteX43" fmla="*/ 317399 w 991080"/>
              <a:gd name="connsiteY43" fmla="*/ 214037 h 333436"/>
              <a:gd name="connsiteX44" fmla="*/ 317647 w 991080"/>
              <a:gd name="connsiteY44" fmla="*/ 213103 h 333436"/>
              <a:gd name="connsiteX45" fmla="*/ 317647 w 991080"/>
              <a:gd name="connsiteY45" fmla="*/ 120328 h 333436"/>
              <a:gd name="connsiteX46" fmla="*/ 317399 w 991080"/>
              <a:gd name="connsiteY46" fmla="*/ 119393 h 333436"/>
              <a:gd name="connsiteX47" fmla="*/ 316702 w 991080"/>
              <a:gd name="connsiteY47" fmla="*/ 118709 h 333436"/>
              <a:gd name="connsiteX48" fmla="*/ 315745 w 991080"/>
              <a:gd name="connsiteY48" fmla="*/ 118461 h 333436"/>
              <a:gd name="connsiteX49" fmla="*/ 314790 w 991080"/>
              <a:gd name="connsiteY49" fmla="*/ 118717 h 333436"/>
              <a:gd name="connsiteX50" fmla="*/ 251777 w 991080"/>
              <a:gd name="connsiteY50" fmla="*/ 154132 h 333436"/>
              <a:gd name="connsiteX51" fmla="*/ 288139 w 991080"/>
              <a:gd name="connsiteY51" fmla="*/ 92760 h 333436"/>
              <a:gd name="connsiteX52" fmla="*/ 288391 w 991080"/>
              <a:gd name="connsiteY52" fmla="*/ 91832 h 333436"/>
              <a:gd name="connsiteX53" fmla="*/ 288134 w 991080"/>
              <a:gd name="connsiteY53" fmla="*/ 90906 h 333436"/>
              <a:gd name="connsiteX54" fmla="*/ 287437 w 991080"/>
              <a:gd name="connsiteY54" fmla="*/ 90227 h 333436"/>
              <a:gd name="connsiteX55" fmla="*/ 286486 w 991080"/>
              <a:gd name="connsiteY55" fmla="*/ 89978 h 333436"/>
              <a:gd name="connsiteX56" fmla="*/ 746614 w 991080"/>
              <a:gd name="connsiteY56" fmla="*/ 89975 h 333436"/>
              <a:gd name="connsiteX57" fmla="*/ 819428 w 991080"/>
              <a:gd name="connsiteY57" fmla="*/ 89975 h 333436"/>
              <a:gd name="connsiteX58" fmla="*/ 863622 w 991080"/>
              <a:gd name="connsiteY58" fmla="*/ 130646 h 333436"/>
              <a:gd name="connsiteX59" fmla="*/ 863622 w 991080"/>
              <a:gd name="connsiteY59" fmla="*/ 202837 h 333436"/>
              <a:gd name="connsiteX60" fmla="*/ 819428 w 991080"/>
              <a:gd name="connsiteY60" fmla="*/ 243508 h 333436"/>
              <a:gd name="connsiteX61" fmla="*/ 746614 w 991080"/>
              <a:gd name="connsiteY61" fmla="*/ 243508 h 333436"/>
              <a:gd name="connsiteX62" fmla="*/ 743006 w 991080"/>
              <a:gd name="connsiteY62" fmla="*/ 239994 h 333436"/>
              <a:gd name="connsiteX63" fmla="*/ 743006 w 991080"/>
              <a:gd name="connsiteY63" fmla="*/ 93489 h 333436"/>
              <a:gd name="connsiteX64" fmla="*/ 746614 w 991080"/>
              <a:gd name="connsiteY64" fmla="*/ 89975 h 333436"/>
              <a:gd name="connsiteX65" fmla="*/ 624298 w 991080"/>
              <a:gd name="connsiteY65" fmla="*/ 89975 h 333436"/>
              <a:gd name="connsiteX66" fmla="*/ 721014 w 991080"/>
              <a:gd name="connsiteY66" fmla="*/ 89975 h 333436"/>
              <a:gd name="connsiteX67" fmla="*/ 724621 w 991080"/>
              <a:gd name="connsiteY67" fmla="*/ 93489 h 333436"/>
              <a:gd name="connsiteX68" fmla="*/ 724621 w 991080"/>
              <a:gd name="connsiteY68" fmla="*/ 117455 h 333436"/>
              <a:gd name="connsiteX69" fmla="*/ 721014 w 991080"/>
              <a:gd name="connsiteY69" fmla="*/ 120969 h 333436"/>
              <a:gd name="connsiteX70" fmla="*/ 654738 w 991080"/>
              <a:gd name="connsiteY70" fmla="*/ 120969 h 333436"/>
              <a:gd name="connsiteX71" fmla="*/ 654738 w 991080"/>
              <a:gd name="connsiteY71" fmla="*/ 154173 h 333436"/>
              <a:gd name="connsiteX72" fmla="*/ 712656 w 991080"/>
              <a:gd name="connsiteY72" fmla="*/ 154173 h 333436"/>
              <a:gd name="connsiteX73" fmla="*/ 716263 w 991080"/>
              <a:gd name="connsiteY73" fmla="*/ 157701 h 333436"/>
              <a:gd name="connsiteX74" fmla="*/ 716263 w 991080"/>
              <a:gd name="connsiteY74" fmla="*/ 181726 h 333436"/>
              <a:gd name="connsiteX75" fmla="*/ 712656 w 991080"/>
              <a:gd name="connsiteY75" fmla="*/ 185240 h 333436"/>
              <a:gd name="connsiteX76" fmla="*/ 654738 w 991080"/>
              <a:gd name="connsiteY76" fmla="*/ 185240 h 333436"/>
              <a:gd name="connsiteX77" fmla="*/ 654738 w 991080"/>
              <a:gd name="connsiteY77" fmla="*/ 239994 h 333436"/>
              <a:gd name="connsiteX78" fmla="*/ 651130 w 991080"/>
              <a:gd name="connsiteY78" fmla="*/ 243508 h 333436"/>
              <a:gd name="connsiteX79" fmla="*/ 624298 w 991080"/>
              <a:gd name="connsiteY79" fmla="*/ 243508 h 333436"/>
              <a:gd name="connsiteX80" fmla="*/ 620690 w 991080"/>
              <a:gd name="connsiteY80" fmla="*/ 239994 h 333436"/>
              <a:gd name="connsiteX81" fmla="*/ 620690 w 991080"/>
              <a:gd name="connsiteY81" fmla="*/ 93489 h 333436"/>
              <a:gd name="connsiteX82" fmla="*/ 624298 w 991080"/>
              <a:gd name="connsiteY82" fmla="*/ 89975 h 333436"/>
              <a:gd name="connsiteX83" fmla="*/ 481496 w 991080"/>
              <a:gd name="connsiteY83" fmla="*/ 89975 h 333436"/>
              <a:gd name="connsiteX84" fmla="*/ 554280 w 991080"/>
              <a:gd name="connsiteY84" fmla="*/ 89975 h 333436"/>
              <a:gd name="connsiteX85" fmla="*/ 598519 w 991080"/>
              <a:gd name="connsiteY85" fmla="*/ 130646 h 333436"/>
              <a:gd name="connsiteX86" fmla="*/ 598519 w 991080"/>
              <a:gd name="connsiteY86" fmla="*/ 202837 h 333436"/>
              <a:gd name="connsiteX87" fmla="*/ 554325 w 991080"/>
              <a:gd name="connsiteY87" fmla="*/ 243508 h 333436"/>
              <a:gd name="connsiteX88" fmla="*/ 481496 w 991080"/>
              <a:gd name="connsiteY88" fmla="*/ 243508 h 333436"/>
              <a:gd name="connsiteX89" fmla="*/ 477888 w 991080"/>
              <a:gd name="connsiteY89" fmla="*/ 239994 h 333436"/>
              <a:gd name="connsiteX90" fmla="*/ 477888 w 991080"/>
              <a:gd name="connsiteY90" fmla="*/ 93489 h 333436"/>
              <a:gd name="connsiteX91" fmla="*/ 481496 w 991080"/>
              <a:gd name="connsiteY91" fmla="*/ 89975 h 333436"/>
              <a:gd name="connsiteX92" fmla="*/ 925345 w 991080"/>
              <a:gd name="connsiteY92" fmla="*/ 88877 h 333436"/>
              <a:gd name="connsiteX93" fmla="*/ 978107 w 991080"/>
              <a:gd name="connsiteY93" fmla="*/ 89536 h 333436"/>
              <a:gd name="connsiteX94" fmla="*/ 981717 w 991080"/>
              <a:gd name="connsiteY94" fmla="*/ 93050 h 333436"/>
              <a:gd name="connsiteX95" fmla="*/ 981717 w 991080"/>
              <a:gd name="connsiteY95" fmla="*/ 117016 h 333436"/>
              <a:gd name="connsiteX96" fmla="*/ 978107 w 991080"/>
              <a:gd name="connsiteY96" fmla="*/ 120529 h 333436"/>
              <a:gd name="connsiteX97" fmla="*/ 930005 w 991080"/>
              <a:gd name="connsiteY97" fmla="*/ 119870 h 333436"/>
              <a:gd name="connsiteX98" fmla="*/ 915123 w 991080"/>
              <a:gd name="connsiteY98" fmla="*/ 130866 h 333436"/>
              <a:gd name="connsiteX99" fmla="*/ 915123 w 991080"/>
              <a:gd name="connsiteY99" fmla="*/ 133955 h 333436"/>
              <a:gd name="connsiteX100" fmla="*/ 925044 w 991080"/>
              <a:gd name="connsiteY100" fmla="*/ 146048 h 333436"/>
              <a:gd name="connsiteX101" fmla="*/ 959990 w 991080"/>
              <a:gd name="connsiteY101" fmla="*/ 157263 h 333436"/>
              <a:gd name="connsiteX102" fmla="*/ 991080 w 991080"/>
              <a:gd name="connsiteY102" fmla="*/ 194229 h 333436"/>
              <a:gd name="connsiteX103" fmla="*/ 991080 w 991080"/>
              <a:gd name="connsiteY103" fmla="*/ 206322 h 333436"/>
              <a:gd name="connsiteX104" fmla="*/ 946990 w 991080"/>
              <a:gd name="connsiteY104" fmla="*/ 244635 h 333436"/>
              <a:gd name="connsiteX105" fmla="*/ 885991 w 991080"/>
              <a:gd name="connsiteY105" fmla="*/ 243977 h 333436"/>
              <a:gd name="connsiteX106" fmla="*/ 882383 w 991080"/>
              <a:gd name="connsiteY106" fmla="*/ 240463 h 333436"/>
              <a:gd name="connsiteX107" fmla="*/ 882383 w 991080"/>
              <a:gd name="connsiteY107" fmla="*/ 216497 h 333436"/>
              <a:gd name="connsiteX108" fmla="*/ 885991 w 991080"/>
              <a:gd name="connsiteY108" fmla="*/ 212969 h 333436"/>
              <a:gd name="connsiteX109" fmla="*/ 942256 w 991080"/>
              <a:gd name="connsiteY109" fmla="*/ 213642 h 333436"/>
              <a:gd name="connsiteX110" fmla="*/ 956914 w 991080"/>
              <a:gd name="connsiteY110" fmla="*/ 201930 h 333436"/>
              <a:gd name="connsiteX111" fmla="*/ 956914 w 991080"/>
              <a:gd name="connsiteY111" fmla="*/ 198372 h 333436"/>
              <a:gd name="connsiteX112" fmla="*/ 946990 w 991080"/>
              <a:gd name="connsiteY112" fmla="*/ 185620 h 333436"/>
              <a:gd name="connsiteX113" fmla="*/ 912267 w 991080"/>
              <a:gd name="connsiteY113" fmla="*/ 174626 h 333436"/>
              <a:gd name="connsiteX114" fmla="*/ 881166 w 991080"/>
              <a:gd name="connsiteY114" fmla="*/ 137908 h 333436"/>
              <a:gd name="connsiteX115" fmla="*/ 881166 w 991080"/>
              <a:gd name="connsiteY115" fmla="*/ 126034 h 333436"/>
              <a:gd name="connsiteX116" fmla="*/ 925345 w 991080"/>
              <a:gd name="connsiteY116" fmla="*/ 88877 h 333436"/>
              <a:gd name="connsiteX117" fmla="*/ 199827 w 991080"/>
              <a:gd name="connsiteY117" fmla="*/ 28 h 333436"/>
              <a:gd name="connsiteX118" fmla="*/ 475181 w 991080"/>
              <a:gd name="connsiteY118" fmla="*/ 28 h 333436"/>
              <a:gd name="connsiteX119" fmla="*/ 476520 w 991080"/>
              <a:gd name="connsiteY119" fmla="*/ 207 h 333436"/>
              <a:gd name="connsiteX120" fmla="*/ 477528 w 991080"/>
              <a:gd name="connsiteY120" fmla="*/ 1084 h 333436"/>
              <a:gd name="connsiteX121" fmla="*/ 477861 w 991080"/>
              <a:gd name="connsiteY121" fmla="*/ 2360 h 333436"/>
              <a:gd name="connsiteX122" fmla="*/ 477406 w 991080"/>
              <a:gd name="connsiteY122" fmla="*/ 3600 h 333436"/>
              <a:gd name="connsiteX123" fmla="*/ 283885 w 991080"/>
              <a:gd name="connsiteY123" fmla="*/ 330080 h 333436"/>
              <a:gd name="connsiteX124" fmla="*/ 281459 w 991080"/>
              <a:gd name="connsiteY124" fmla="*/ 332601 h 333436"/>
              <a:gd name="connsiteX125" fmla="*/ 278008 w 991080"/>
              <a:gd name="connsiteY125" fmla="*/ 333403 h 333436"/>
              <a:gd name="connsiteX126" fmla="*/ 2713 w 991080"/>
              <a:gd name="connsiteY126" fmla="*/ 333403 h 333436"/>
              <a:gd name="connsiteX127" fmla="*/ 1359 w 991080"/>
              <a:gd name="connsiteY127" fmla="*/ 333235 h 333436"/>
              <a:gd name="connsiteX128" fmla="*/ 337 w 991080"/>
              <a:gd name="connsiteY128" fmla="*/ 332353 h 333436"/>
              <a:gd name="connsiteX129" fmla="*/ 3 w 991080"/>
              <a:gd name="connsiteY129" fmla="*/ 331064 h 333436"/>
              <a:gd name="connsiteX130" fmla="*/ 473 w 991080"/>
              <a:gd name="connsiteY130" fmla="*/ 329816 h 333436"/>
              <a:gd name="connsiteX131" fmla="*/ 193949 w 991080"/>
              <a:gd name="connsiteY131" fmla="*/ 3351 h 333436"/>
              <a:gd name="connsiteX132" fmla="*/ 196375 w 991080"/>
              <a:gd name="connsiteY132" fmla="*/ 829 h 333436"/>
              <a:gd name="connsiteX133" fmla="*/ 199827 w 991080"/>
              <a:gd name="connsiteY133" fmla="*/ 28 h 333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Lst>
            <a:rect l="l" t="t" r="r" b="b"/>
            <a:pathLst>
              <a:path w="991080" h="333436">
                <a:moveTo>
                  <a:pt x="777113" y="120969"/>
                </a:moveTo>
                <a:lnTo>
                  <a:pt x="777113" y="212441"/>
                </a:lnTo>
                <a:lnTo>
                  <a:pt x="814693" y="212441"/>
                </a:lnTo>
                <a:cubicBezTo>
                  <a:pt x="825291" y="212441"/>
                  <a:pt x="829575" y="208049"/>
                  <a:pt x="829575" y="197054"/>
                </a:cubicBezTo>
                <a:lnTo>
                  <a:pt x="829575" y="136370"/>
                </a:lnTo>
                <a:cubicBezTo>
                  <a:pt x="829575" y="125361"/>
                  <a:pt x="825291" y="120969"/>
                  <a:pt x="814693" y="120969"/>
                </a:cubicBezTo>
                <a:close/>
                <a:moveTo>
                  <a:pt x="511966" y="120969"/>
                </a:moveTo>
                <a:lnTo>
                  <a:pt x="511966" y="212441"/>
                </a:lnTo>
                <a:lnTo>
                  <a:pt x="549546" y="212441"/>
                </a:lnTo>
                <a:cubicBezTo>
                  <a:pt x="560143" y="212441"/>
                  <a:pt x="564426" y="208049"/>
                  <a:pt x="564426" y="197054"/>
                </a:cubicBezTo>
                <a:lnTo>
                  <a:pt x="564426" y="136370"/>
                </a:lnTo>
                <a:cubicBezTo>
                  <a:pt x="564426" y="125361"/>
                  <a:pt x="560143" y="120969"/>
                  <a:pt x="549546" y="120969"/>
                </a:cubicBezTo>
                <a:close/>
                <a:moveTo>
                  <a:pt x="191228" y="89978"/>
                </a:moveTo>
                <a:cubicBezTo>
                  <a:pt x="190894" y="89979"/>
                  <a:pt x="190566" y="90065"/>
                  <a:pt x="190277" y="90227"/>
                </a:cubicBezTo>
                <a:cubicBezTo>
                  <a:pt x="189988" y="90390"/>
                  <a:pt x="189747" y="90624"/>
                  <a:pt x="189581" y="90906"/>
                </a:cubicBezTo>
                <a:cubicBezTo>
                  <a:pt x="189413" y="91187"/>
                  <a:pt x="189324" y="91507"/>
                  <a:pt x="189323" y="91832"/>
                </a:cubicBezTo>
                <a:cubicBezTo>
                  <a:pt x="189322" y="92157"/>
                  <a:pt x="189409" y="92477"/>
                  <a:pt x="189575" y="92760"/>
                </a:cubicBezTo>
                <a:lnTo>
                  <a:pt x="225952" y="154132"/>
                </a:lnTo>
                <a:lnTo>
                  <a:pt x="162923" y="118717"/>
                </a:lnTo>
                <a:cubicBezTo>
                  <a:pt x="162633" y="118555"/>
                  <a:pt x="162305" y="118471"/>
                  <a:pt x="161970" y="118472"/>
                </a:cubicBezTo>
                <a:cubicBezTo>
                  <a:pt x="161637" y="118473"/>
                  <a:pt x="161308" y="118559"/>
                  <a:pt x="161020" y="118722"/>
                </a:cubicBezTo>
                <a:cubicBezTo>
                  <a:pt x="160730" y="118886"/>
                  <a:pt x="160490" y="119119"/>
                  <a:pt x="160324" y="119401"/>
                </a:cubicBezTo>
                <a:cubicBezTo>
                  <a:pt x="160156" y="119683"/>
                  <a:pt x="160067" y="120002"/>
                  <a:pt x="160067" y="120328"/>
                </a:cubicBezTo>
                <a:lnTo>
                  <a:pt x="160067" y="213103"/>
                </a:lnTo>
                <a:cubicBezTo>
                  <a:pt x="160067" y="213429"/>
                  <a:pt x="160156" y="213748"/>
                  <a:pt x="160324" y="214030"/>
                </a:cubicBezTo>
                <a:cubicBezTo>
                  <a:pt x="160490" y="214311"/>
                  <a:pt x="160730" y="214545"/>
                  <a:pt x="161020" y="214708"/>
                </a:cubicBezTo>
                <a:cubicBezTo>
                  <a:pt x="161308" y="214871"/>
                  <a:pt x="161637" y="214958"/>
                  <a:pt x="161970" y="214959"/>
                </a:cubicBezTo>
                <a:cubicBezTo>
                  <a:pt x="162305" y="214959"/>
                  <a:pt x="162633" y="214875"/>
                  <a:pt x="162923" y="214714"/>
                </a:cubicBezTo>
                <a:lnTo>
                  <a:pt x="225952" y="179299"/>
                </a:lnTo>
                <a:lnTo>
                  <a:pt x="189635" y="240670"/>
                </a:lnTo>
                <a:cubicBezTo>
                  <a:pt x="189469" y="240953"/>
                  <a:pt x="189382" y="241273"/>
                  <a:pt x="189383" y="241598"/>
                </a:cubicBezTo>
                <a:cubicBezTo>
                  <a:pt x="189384" y="241924"/>
                  <a:pt x="189473" y="242243"/>
                  <a:pt x="189641" y="242525"/>
                </a:cubicBezTo>
                <a:cubicBezTo>
                  <a:pt x="189807" y="242806"/>
                  <a:pt x="190048" y="243040"/>
                  <a:pt x="190337" y="243203"/>
                </a:cubicBezTo>
                <a:cubicBezTo>
                  <a:pt x="190626" y="243366"/>
                  <a:pt x="190954" y="243452"/>
                  <a:pt x="191288" y="243453"/>
                </a:cubicBezTo>
                <a:lnTo>
                  <a:pt x="286486" y="243453"/>
                </a:lnTo>
                <a:cubicBezTo>
                  <a:pt x="286819" y="243452"/>
                  <a:pt x="287148" y="243366"/>
                  <a:pt x="287437" y="243203"/>
                </a:cubicBezTo>
                <a:cubicBezTo>
                  <a:pt x="287726" y="243040"/>
                  <a:pt x="287966" y="242806"/>
                  <a:pt x="288134" y="242525"/>
                </a:cubicBezTo>
                <a:cubicBezTo>
                  <a:pt x="288301" y="242243"/>
                  <a:pt x="288390" y="241924"/>
                  <a:pt x="288391" y="241598"/>
                </a:cubicBezTo>
                <a:cubicBezTo>
                  <a:pt x="288392" y="241273"/>
                  <a:pt x="288304" y="240953"/>
                  <a:pt x="288139" y="240670"/>
                </a:cubicBezTo>
                <a:lnTo>
                  <a:pt x="251777" y="179299"/>
                </a:lnTo>
                <a:lnTo>
                  <a:pt x="314790" y="214714"/>
                </a:lnTo>
                <a:cubicBezTo>
                  <a:pt x="315080" y="214879"/>
                  <a:pt x="315410" y="214968"/>
                  <a:pt x="315745" y="214969"/>
                </a:cubicBezTo>
                <a:cubicBezTo>
                  <a:pt x="316081" y="214971"/>
                  <a:pt x="316412" y="214885"/>
                  <a:pt x="316702" y="214721"/>
                </a:cubicBezTo>
                <a:cubicBezTo>
                  <a:pt x="316993" y="214558"/>
                  <a:pt x="317233" y="214321"/>
                  <a:pt x="317399" y="214037"/>
                </a:cubicBezTo>
                <a:cubicBezTo>
                  <a:pt x="317565" y="213753"/>
                  <a:pt x="317651" y="213430"/>
                  <a:pt x="317647" y="213103"/>
                </a:cubicBezTo>
                <a:lnTo>
                  <a:pt x="317647" y="120328"/>
                </a:lnTo>
                <a:cubicBezTo>
                  <a:pt x="317651" y="120000"/>
                  <a:pt x="317565" y="119678"/>
                  <a:pt x="317399" y="119393"/>
                </a:cubicBezTo>
                <a:cubicBezTo>
                  <a:pt x="317233" y="119109"/>
                  <a:pt x="316993" y="118873"/>
                  <a:pt x="316702" y="118709"/>
                </a:cubicBezTo>
                <a:cubicBezTo>
                  <a:pt x="316412" y="118546"/>
                  <a:pt x="316081" y="118460"/>
                  <a:pt x="315745" y="118461"/>
                </a:cubicBezTo>
                <a:cubicBezTo>
                  <a:pt x="315410" y="118463"/>
                  <a:pt x="315080" y="118550"/>
                  <a:pt x="314790" y="118717"/>
                </a:cubicBezTo>
                <a:lnTo>
                  <a:pt x="251777" y="154132"/>
                </a:lnTo>
                <a:lnTo>
                  <a:pt x="288139" y="92760"/>
                </a:lnTo>
                <a:cubicBezTo>
                  <a:pt x="288304" y="92477"/>
                  <a:pt x="288392" y="92157"/>
                  <a:pt x="288391" y="91832"/>
                </a:cubicBezTo>
                <a:cubicBezTo>
                  <a:pt x="288390" y="91507"/>
                  <a:pt x="288301" y="91187"/>
                  <a:pt x="288134" y="90906"/>
                </a:cubicBezTo>
                <a:cubicBezTo>
                  <a:pt x="287966" y="90624"/>
                  <a:pt x="287726" y="90390"/>
                  <a:pt x="287437" y="90227"/>
                </a:cubicBezTo>
                <a:cubicBezTo>
                  <a:pt x="287148" y="90065"/>
                  <a:pt x="286819" y="89979"/>
                  <a:pt x="286486" y="89978"/>
                </a:cubicBezTo>
                <a:close/>
                <a:moveTo>
                  <a:pt x="746614" y="89975"/>
                </a:moveTo>
                <a:lnTo>
                  <a:pt x="819428" y="89975"/>
                </a:lnTo>
                <a:cubicBezTo>
                  <a:pt x="847388" y="89975"/>
                  <a:pt x="863622" y="105142"/>
                  <a:pt x="863622" y="130646"/>
                </a:cubicBezTo>
                <a:lnTo>
                  <a:pt x="863622" y="202837"/>
                </a:lnTo>
                <a:cubicBezTo>
                  <a:pt x="863622" y="228341"/>
                  <a:pt x="847388" y="243508"/>
                  <a:pt x="819428" y="243508"/>
                </a:cubicBezTo>
                <a:lnTo>
                  <a:pt x="746614" y="243508"/>
                </a:lnTo>
                <a:cubicBezTo>
                  <a:pt x="743908" y="243508"/>
                  <a:pt x="743006" y="242630"/>
                  <a:pt x="743006" y="239994"/>
                </a:cubicBezTo>
                <a:lnTo>
                  <a:pt x="743006" y="93489"/>
                </a:lnTo>
                <a:cubicBezTo>
                  <a:pt x="743006" y="90853"/>
                  <a:pt x="743908" y="89975"/>
                  <a:pt x="746614" y="89975"/>
                </a:cubicBezTo>
                <a:close/>
                <a:moveTo>
                  <a:pt x="624298" y="89975"/>
                </a:moveTo>
                <a:lnTo>
                  <a:pt x="721014" y="89975"/>
                </a:lnTo>
                <a:cubicBezTo>
                  <a:pt x="723719" y="89975"/>
                  <a:pt x="724621" y="90853"/>
                  <a:pt x="724621" y="93489"/>
                </a:cubicBezTo>
                <a:lnTo>
                  <a:pt x="724621" y="117455"/>
                </a:lnTo>
                <a:cubicBezTo>
                  <a:pt x="724621" y="120091"/>
                  <a:pt x="723719" y="120969"/>
                  <a:pt x="721014" y="120969"/>
                </a:cubicBezTo>
                <a:lnTo>
                  <a:pt x="654738" y="120969"/>
                </a:lnTo>
                <a:lnTo>
                  <a:pt x="654738" y="154173"/>
                </a:lnTo>
                <a:lnTo>
                  <a:pt x="712656" y="154173"/>
                </a:lnTo>
                <a:cubicBezTo>
                  <a:pt x="715362" y="154173"/>
                  <a:pt x="716263" y="155051"/>
                  <a:pt x="716263" y="157701"/>
                </a:cubicBezTo>
                <a:lnTo>
                  <a:pt x="716263" y="181726"/>
                </a:lnTo>
                <a:cubicBezTo>
                  <a:pt x="716263" y="184361"/>
                  <a:pt x="715362" y="185240"/>
                  <a:pt x="712656" y="185240"/>
                </a:cubicBezTo>
                <a:lnTo>
                  <a:pt x="654738" y="185240"/>
                </a:lnTo>
                <a:lnTo>
                  <a:pt x="654738" y="239994"/>
                </a:lnTo>
                <a:cubicBezTo>
                  <a:pt x="654738" y="242630"/>
                  <a:pt x="653836" y="243508"/>
                  <a:pt x="651130" y="243508"/>
                </a:cubicBezTo>
                <a:lnTo>
                  <a:pt x="624298" y="243508"/>
                </a:lnTo>
                <a:cubicBezTo>
                  <a:pt x="621592" y="243508"/>
                  <a:pt x="620690" y="242630"/>
                  <a:pt x="620690" y="239994"/>
                </a:cubicBezTo>
                <a:lnTo>
                  <a:pt x="620690" y="93489"/>
                </a:lnTo>
                <a:cubicBezTo>
                  <a:pt x="620690" y="90853"/>
                  <a:pt x="621592" y="89975"/>
                  <a:pt x="624298" y="89975"/>
                </a:cubicBezTo>
                <a:close/>
                <a:moveTo>
                  <a:pt x="481496" y="89975"/>
                </a:moveTo>
                <a:lnTo>
                  <a:pt x="554280" y="89975"/>
                </a:lnTo>
                <a:cubicBezTo>
                  <a:pt x="582210" y="89975"/>
                  <a:pt x="598475" y="105142"/>
                  <a:pt x="598519" y="130646"/>
                </a:cubicBezTo>
                <a:lnTo>
                  <a:pt x="598519" y="202837"/>
                </a:lnTo>
                <a:cubicBezTo>
                  <a:pt x="598519" y="228341"/>
                  <a:pt x="582285" y="243508"/>
                  <a:pt x="554325" y="243508"/>
                </a:cubicBezTo>
                <a:lnTo>
                  <a:pt x="481496" y="243508"/>
                </a:lnTo>
                <a:cubicBezTo>
                  <a:pt x="478790" y="243508"/>
                  <a:pt x="477888" y="242630"/>
                  <a:pt x="477888" y="239994"/>
                </a:cubicBezTo>
                <a:lnTo>
                  <a:pt x="477888" y="93489"/>
                </a:lnTo>
                <a:cubicBezTo>
                  <a:pt x="477888" y="90853"/>
                  <a:pt x="478790" y="89975"/>
                  <a:pt x="481496" y="89975"/>
                </a:cubicBezTo>
                <a:close/>
                <a:moveTo>
                  <a:pt x="925345" y="88877"/>
                </a:moveTo>
                <a:cubicBezTo>
                  <a:pt x="949922" y="88877"/>
                  <a:pt x="978107" y="89536"/>
                  <a:pt x="978107" y="89536"/>
                </a:cubicBezTo>
                <a:cubicBezTo>
                  <a:pt x="980812" y="89536"/>
                  <a:pt x="981717" y="90414"/>
                  <a:pt x="981717" y="93050"/>
                </a:cubicBezTo>
                <a:lnTo>
                  <a:pt x="981717" y="117016"/>
                </a:lnTo>
                <a:cubicBezTo>
                  <a:pt x="981717" y="119651"/>
                  <a:pt x="980812" y="120529"/>
                  <a:pt x="978107" y="120529"/>
                </a:cubicBezTo>
                <a:cubicBezTo>
                  <a:pt x="978107" y="120529"/>
                  <a:pt x="952327" y="119870"/>
                  <a:pt x="930005" y="119870"/>
                </a:cubicBezTo>
                <a:cubicBezTo>
                  <a:pt x="919407" y="119870"/>
                  <a:pt x="915123" y="119870"/>
                  <a:pt x="915123" y="130866"/>
                </a:cubicBezTo>
                <a:lnTo>
                  <a:pt x="915123" y="133955"/>
                </a:lnTo>
                <a:cubicBezTo>
                  <a:pt x="915123" y="142080"/>
                  <a:pt x="917152" y="143617"/>
                  <a:pt x="925044" y="146048"/>
                </a:cubicBezTo>
                <a:lnTo>
                  <a:pt x="959990" y="157263"/>
                </a:lnTo>
                <a:cubicBezTo>
                  <a:pt x="974878" y="161874"/>
                  <a:pt x="991080" y="166486"/>
                  <a:pt x="991080" y="194229"/>
                </a:cubicBezTo>
                <a:lnTo>
                  <a:pt x="991080" y="206322"/>
                </a:lnTo>
                <a:cubicBezTo>
                  <a:pt x="991080" y="231796"/>
                  <a:pt x="975173" y="244635"/>
                  <a:pt x="946990" y="244635"/>
                </a:cubicBezTo>
                <a:cubicBezTo>
                  <a:pt x="918806" y="244635"/>
                  <a:pt x="885991" y="243977"/>
                  <a:pt x="885991" y="243977"/>
                </a:cubicBezTo>
                <a:cubicBezTo>
                  <a:pt x="883285" y="243977"/>
                  <a:pt x="882383" y="243098"/>
                  <a:pt x="882383" y="240463"/>
                </a:cubicBezTo>
                <a:lnTo>
                  <a:pt x="882383" y="216497"/>
                </a:lnTo>
                <a:cubicBezTo>
                  <a:pt x="882383" y="213862"/>
                  <a:pt x="883285" y="212969"/>
                  <a:pt x="885991" y="212969"/>
                </a:cubicBezTo>
                <a:cubicBezTo>
                  <a:pt x="885991" y="212969"/>
                  <a:pt x="918205" y="213642"/>
                  <a:pt x="942256" y="213642"/>
                </a:cubicBezTo>
                <a:cubicBezTo>
                  <a:pt x="952856" y="213642"/>
                  <a:pt x="956914" y="212910"/>
                  <a:pt x="956914" y="201930"/>
                </a:cubicBezTo>
                <a:lnTo>
                  <a:pt x="956914" y="198372"/>
                </a:lnTo>
                <a:cubicBezTo>
                  <a:pt x="956914" y="190247"/>
                  <a:pt x="954885" y="188036"/>
                  <a:pt x="946990" y="185620"/>
                </a:cubicBezTo>
                <a:lnTo>
                  <a:pt x="912267" y="174626"/>
                </a:lnTo>
                <a:cubicBezTo>
                  <a:pt x="897159" y="170014"/>
                  <a:pt x="881166" y="165387"/>
                  <a:pt x="881166" y="137908"/>
                </a:cubicBezTo>
                <a:lnTo>
                  <a:pt x="881166" y="126034"/>
                </a:lnTo>
                <a:cubicBezTo>
                  <a:pt x="881166" y="100590"/>
                  <a:pt x="897385" y="88877"/>
                  <a:pt x="925345" y="88877"/>
                </a:cubicBezTo>
                <a:close/>
                <a:moveTo>
                  <a:pt x="199827" y="28"/>
                </a:moveTo>
                <a:lnTo>
                  <a:pt x="475181" y="28"/>
                </a:lnTo>
                <a:cubicBezTo>
                  <a:pt x="475636" y="-44"/>
                  <a:pt x="476102" y="19"/>
                  <a:pt x="476520" y="207"/>
                </a:cubicBezTo>
                <a:cubicBezTo>
                  <a:pt x="476938" y="395"/>
                  <a:pt x="477290" y="701"/>
                  <a:pt x="477528" y="1084"/>
                </a:cubicBezTo>
                <a:cubicBezTo>
                  <a:pt x="477767" y="1468"/>
                  <a:pt x="477883" y="1912"/>
                  <a:pt x="477861" y="2360"/>
                </a:cubicBezTo>
                <a:cubicBezTo>
                  <a:pt x="477839" y="2808"/>
                  <a:pt x="477681" y="3240"/>
                  <a:pt x="477406" y="3600"/>
                </a:cubicBezTo>
                <a:lnTo>
                  <a:pt x="283885" y="330080"/>
                </a:lnTo>
                <a:cubicBezTo>
                  <a:pt x="283348" y="331133"/>
                  <a:pt x="282505" y="332010"/>
                  <a:pt x="281459" y="332601"/>
                </a:cubicBezTo>
                <a:cubicBezTo>
                  <a:pt x="280414" y="333192"/>
                  <a:pt x="279214" y="333470"/>
                  <a:pt x="278008" y="333403"/>
                </a:cubicBezTo>
                <a:lnTo>
                  <a:pt x="2713" y="333403"/>
                </a:lnTo>
                <a:cubicBezTo>
                  <a:pt x="2254" y="333481"/>
                  <a:pt x="1783" y="333422"/>
                  <a:pt x="1359" y="333235"/>
                </a:cubicBezTo>
                <a:cubicBezTo>
                  <a:pt x="935" y="333048"/>
                  <a:pt x="579" y="332740"/>
                  <a:pt x="337" y="332353"/>
                </a:cubicBezTo>
                <a:cubicBezTo>
                  <a:pt x="95" y="331966"/>
                  <a:pt x="-21" y="331517"/>
                  <a:pt x="3" y="331064"/>
                </a:cubicBezTo>
                <a:cubicBezTo>
                  <a:pt x="27" y="330611"/>
                  <a:pt x="191" y="330177"/>
                  <a:pt x="473" y="329816"/>
                </a:cubicBezTo>
                <a:lnTo>
                  <a:pt x="193949" y="3351"/>
                </a:lnTo>
                <a:cubicBezTo>
                  <a:pt x="194486" y="2297"/>
                  <a:pt x="195330" y="1420"/>
                  <a:pt x="196375" y="829"/>
                </a:cubicBezTo>
                <a:cubicBezTo>
                  <a:pt x="197420" y="238"/>
                  <a:pt x="198620" y="-41"/>
                  <a:pt x="199827" y="28"/>
                </a:cubicBezTo>
                <a:close/>
              </a:path>
            </a:pathLst>
          </a:custGeom>
          <a:solidFill>
            <a:schemeClr val="bg1"/>
          </a:solidFill>
        </p:spPr>
        <p:txBody>
          <a:bodyPr wrap="square">
            <a:noAutofit/>
          </a:bodyPr>
          <a:lstStyle>
            <a:lvl1pPr marL="126000" indent="0">
              <a:buFontTx/>
              <a:buNone/>
              <a:defRPr sz="800">
                <a:noFill/>
              </a:defRPr>
            </a:lvl1pPr>
          </a:lstStyle>
          <a:p>
            <a:pPr lvl="0"/>
            <a:r>
              <a:rPr lang="en-GB"/>
              <a:t>Set text to 'No Fill'</a:t>
            </a:r>
          </a:p>
        </p:txBody>
      </p:sp>
    </p:spTree>
    <p:extLst>
      <p:ext uri="{BB962C8B-B14F-4D97-AF65-F5344CB8AC3E}">
        <p14:creationId xmlns:p14="http://schemas.microsoft.com/office/powerpoint/2010/main" val="154434209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over D (light image)">
    <p:bg>
      <p:bgPr>
        <a:solidFill>
          <a:schemeClr val="accent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11620E09-15BE-6BF1-DAE6-B5DECAE505F8}"/>
              </a:ext>
            </a:extLst>
          </p:cNvPr>
          <p:cNvSpPr>
            <a:spLocks noGrp="1"/>
          </p:cNvSpPr>
          <p:nvPr>
            <p:ph type="pic" sz="quarter" idx="18" hasCustomPrompt="1"/>
          </p:nvPr>
        </p:nvSpPr>
        <p:spPr>
          <a:xfrm>
            <a:off x="-2788" y="0"/>
            <a:ext cx="12195988" cy="6858000"/>
          </a:xfrm>
          <a:custGeom>
            <a:avLst/>
            <a:gdLst>
              <a:gd name="connsiteX0" fmla="*/ 0 w 12195988"/>
              <a:gd name="connsiteY0" fmla="*/ 0 h 6858000"/>
              <a:gd name="connsiteX1" fmla="*/ 2788 w 12195988"/>
              <a:gd name="connsiteY1" fmla="*/ 0 h 6858000"/>
              <a:gd name="connsiteX2" fmla="*/ 12193200 w 12195988"/>
              <a:gd name="connsiteY2" fmla="*/ 0 h 6858000"/>
              <a:gd name="connsiteX3" fmla="*/ 12194788 w 12195988"/>
              <a:gd name="connsiteY3" fmla="*/ 0 h 6858000"/>
              <a:gd name="connsiteX4" fmla="*/ 12195988 w 12195988"/>
              <a:gd name="connsiteY4" fmla="*/ 0 h 6858000"/>
              <a:gd name="connsiteX5" fmla="*/ 12195988 w 12195988"/>
              <a:gd name="connsiteY5" fmla="*/ 6858000 h 6858000"/>
              <a:gd name="connsiteX6" fmla="*/ 12194788 w 12195988"/>
              <a:gd name="connsiteY6" fmla="*/ 6858000 h 6858000"/>
              <a:gd name="connsiteX7" fmla="*/ 12193200 w 12195988"/>
              <a:gd name="connsiteY7" fmla="*/ 6858000 h 6858000"/>
              <a:gd name="connsiteX8" fmla="*/ 2788 w 12195988"/>
              <a:gd name="connsiteY8" fmla="*/ 6858000 h 6858000"/>
              <a:gd name="connsiteX9" fmla="*/ 0 w 12195988"/>
              <a:gd name="connsiteY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5988" h="6858000">
                <a:moveTo>
                  <a:pt x="0" y="0"/>
                </a:moveTo>
                <a:lnTo>
                  <a:pt x="2788" y="0"/>
                </a:lnTo>
                <a:lnTo>
                  <a:pt x="12193200" y="0"/>
                </a:lnTo>
                <a:lnTo>
                  <a:pt x="12194788" y="0"/>
                </a:lnTo>
                <a:lnTo>
                  <a:pt x="12195988" y="0"/>
                </a:lnTo>
                <a:lnTo>
                  <a:pt x="12195988" y="6858000"/>
                </a:lnTo>
                <a:lnTo>
                  <a:pt x="12194788" y="6858000"/>
                </a:lnTo>
                <a:lnTo>
                  <a:pt x="12193200" y="6858000"/>
                </a:lnTo>
                <a:lnTo>
                  <a:pt x="2788" y="6858000"/>
                </a:lnTo>
                <a:lnTo>
                  <a:pt x="0" y="6858000"/>
                </a:lnTo>
                <a:close/>
              </a:path>
            </a:pathLst>
          </a:custGeom>
          <a:solidFill>
            <a:schemeClr val="bg1">
              <a:lumMod val="95000"/>
            </a:schemeClr>
          </a:solidFill>
        </p:spPr>
        <p:txBody>
          <a:bodyPr wrap="square" bIns="648000" anchor="ctr">
            <a:noAutofit/>
          </a:bodyPr>
          <a:lstStyle>
            <a:lvl1pPr marL="126000" indent="0" algn="ctr">
              <a:buNone/>
              <a:defRPr/>
            </a:lvl1pPr>
          </a:lstStyle>
          <a:p>
            <a:r>
              <a:rPr lang="en-GB"/>
              <a:t>Click icon to add light picture</a:t>
            </a:r>
          </a:p>
        </p:txBody>
      </p:sp>
      <p:sp>
        <p:nvSpPr>
          <p:cNvPr id="2" name="Title 1"/>
          <p:cNvSpPr>
            <a:spLocks noGrp="1"/>
          </p:cNvSpPr>
          <p:nvPr>
            <p:ph type="ctrTitle" hasCustomPrompt="1"/>
          </p:nvPr>
        </p:nvSpPr>
        <p:spPr>
          <a:xfrm>
            <a:off x="269875" y="271462"/>
            <a:ext cx="11650663" cy="2029777"/>
          </a:xfrm>
        </p:spPr>
        <p:txBody>
          <a:bodyPr anchor="t"/>
          <a:lstStyle>
            <a:lvl1pPr algn="l">
              <a:lnSpc>
                <a:spcPct val="90000"/>
              </a:lnSpc>
              <a:defRPr sz="7500">
                <a:solidFill>
                  <a:schemeClr val="accent1"/>
                </a:solidFill>
              </a:defRPr>
            </a:lvl1pPr>
          </a:lstStyle>
          <a:p>
            <a:r>
              <a:rPr lang="en-GB"/>
              <a:t>Click to add title</a:t>
            </a:r>
          </a:p>
        </p:txBody>
      </p:sp>
      <p:sp>
        <p:nvSpPr>
          <p:cNvPr id="27" name="Subtitle 2">
            <a:extLst>
              <a:ext uri="{FF2B5EF4-FFF2-40B4-BE49-F238E27FC236}">
                <a16:creationId xmlns:a16="http://schemas.microsoft.com/office/drawing/2014/main" id="{61B7D5FC-1EAC-298E-D828-AEE1FD7B5DD5}"/>
              </a:ext>
            </a:extLst>
          </p:cNvPr>
          <p:cNvSpPr>
            <a:spLocks noGrp="1"/>
          </p:cNvSpPr>
          <p:nvPr>
            <p:ph type="subTitle" idx="1" hasCustomPrompt="1"/>
          </p:nvPr>
        </p:nvSpPr>
        <p:spPr>
          <a:xfrm>
            <a:off x="269875" y="6429375"/>
            <a:ext cx="1971675" cy="157163"/>
          </a:xfrm>
        </p:spPr>
        <p:txBody>
          <a:bodyPr tIns="0"/>
          <a:lstStyle>
            <a:lvl1pPr marL="0" indent="0" algn="l">
              <a:lnSpc>
                <a:spcPct val="100000"/>
              </a:lnSpc>
              <a:spcBef>
                <a:spcPts val="0"/>
              </a:spcBef>
              <a:spcAft>
                <a:spcPts val="0"/>
              </a:spcAft>
              <a:buFont typeface="DFDS Sans" panose="00000500000000000000" pitchFamily="2" charset="0"/>
              <a:buChar char="​"/>
              <a:defRPr sz="1000">
                <a:solidFill>
                  <a:schemeClr val="accent1"/>
                </a:solidFill>
              </a:defRPr>
            </a:lvl1pPr>
            <a:lvl2pPr marL="0" indent="0" algn="l">
              <a:lnSpc>
                <a:spcPct val="100000"/>
              </a:lnSpc>
              <a:spcAft>
                <a:spcPts val="0"/>
              </a:spcAft>
              <a:buFont typeface="DFDS Sans" panose="00000500000000000000" pitchFamily="2" charset="0"/>
              <a:buNone/>
              <a:defRPr sz="1000" b="0">
                <a:solidFill>
                  <a:schemeClr val="accent1"/>
                </a:solidFill>
              </a:defRPr>
            </a:lvl2pPr>
            <a:lvl3pPr marL="0" indent="0" algn="l">
              <a:lnSpc>
                <a:spcPct val="100000"/>
              </a:lnSpc>
              <a:spcAft>
                <a:spcPts val="0"/>
              </a:spcAft>
              <a:buFont typeface="DFDS Sans" panose="00000500000000000000" pitchFamily="2" charset="0"/>
              <a:buChar char="​"/>
              <a:defRPr sz="1000" b="0">
                <a:solidFill>
                  <a:schemeClr val="accent1"/>
                </a:solidFill>
              </a:defRPr>
            </a:lvl3pPr>
            <a:lvl4pPr marL="0" indent="0" algn="l">
              <a:lnSpc>
                <a:spcPct val="100000"/>
              </a:lnSpc>
              <a:spcAft>
                <a:spcPts val="0"/>
              </a:spcAft>
              <a:buFont typeface="DFDS Sans" panose="00000500000000000000" pitchFamily="2" charset="0"/>
              <a:buChar char="​"/>
              <a:defRPr sz="1000" b="0">
                <a:solidFill>
                  <a:schemeClr val="accent1"/>
                </a:solidFill>
              </a:defRPr>
            </a:lvl4pPr>
            <a:lvl5pPr marL="0" indent="0" algn="l">
              <a:lnSpc>
                <a:spcPct val="100000"/>
              </a:lnSpc>
              <a:spcAft>
                <a:spcPts val="0"/>
              </a:spcAft>
              <a:buFont typeface="DFDS Sans" panose="00000500000000000000" pitchFamily="2" charset="0"/>
              <a:buChar char="​"/>
              <a:defRPr sz="1000" b="0">
                <a:solidFill>
                  <a:schemeClr val="accent1"/>
                </a:solidFill>
              </a:defRPr>
            </a:lvl5pPr>
            <a:lvl6pPr marL="0" indent="0" algn="l">
              <a:lnSpc>
                <a:spcPct val="100000"/>
              </a:lnSpc>
              <a:spcAft>
                <a:spcPts val="0"/>
              </a:spcAft>
              <a:buFont typeface="DFDS Sans" panose="00000500000000000000" pitchFamily="2" charset="0"/>
              <a:buChar char="​"/>
              <a:defRPr sz="1000" b="0">
                <a:solidFill>
                  <a:schemeClr val="accent1"/>
                </a:solidFill>
              </a:defRPr>
            </a:lvl6pPr>
            <a:lvl7pPr marL="0" indent="0" algn="l">
              <a:lnSpc>
                <a:spcPct val="100000"/>
              </a:lnSpc>
              <a:spcAft>
                <a:spcPts val="0"/>
              </a:spcAft>
              <a:buFont typeface="DFDS Sans" panose="00000500000000000000" pitchFamily="2" charset="0"/>
              <a:buChar char="​"/>
              <a:defRPr sz="1000" b="0">
                <a:solidFill>
                  <a:schemeClr val="accent1"/>
                </a:solidFill>
              </a:defRPr>
            </a:lvl7pPr>
            <a:lvl8pPr marL="0" indent="0" algn="l">
              <a:lnSpc>
                <a:spcPct val="100000"/>
              </a:lnSpc>
              <a:spcAft>
                <a:spcPts val="0"/>
              </a:spcAft>
              <a:buFont typeface="DFDS Sans" panose="00000500000000000000" pitchFamily="2" charset="0"/>
              <a:buChar char="​"/>
              <a:defRPr sz="1000" b="0">
                <a:solidFill>
                  <a:schemeClr val="accent1"/>
                </a:solidFill>
              </a:defRPr>
            </a:lvl8pPr>
            <a:lvl9pPr marL="0" indent="0" algn="l">
              <a:lnSpc>
                <a:spcPct val="100000"/>
              </a:lnSpc>
              <a:spcAft>
                <a:spcPts val="0"/>
              </a:spcAft>
              <a:buFont typeface="DFDS Sans" panose="00000500000000000000" pitchFamily="2" charset="0"/>
              <a:buChar char="​"/>
              <a:defRPr sz="1000" b="0">
                <a:solidFill>
                  <a:schemeClr val="accent1"/>
                </a:solidFill>
              </a:defRPr>
            </a:lvl9pPr>
          </a:lstStyle>
          <a:p>
            <a:r>
              <a:rPr lang="en-GB"/>
              <a:t>Click to add event name</a:t>
            </a:r>
          </a:p>
        </p:txBody>
      </p:sp>
      <p:sp>
        <p:nvSpPr>
          <p:cNvPr id="37" name="Date Placeholder 36">
            <a:extLst>
              <a:ext uri="{FF2B5EF4-FFF2-40B4-BE49-F238E27FC236}">
                <a16:creationId xmlns:a16="http://schemas.microsoft.com/office/drawing/2014/main" id="{FEB58EF0-72CE-E9B0-DAF2-2DAEE50ABF86}"/>
              </a:ext>
            </a:extLst>
          </p:cNvPr>
          <p:cNvSpPr>
            <a:spLocks noGrp="1"/>
          </p:cNvSpPr>
          <p:nvPr>
            <p:ph type="dt" sz="half" idx="19"/>
          </p:nvPr>
        </p:nvSpPr>
        <p:spPr>
          <a:xfrm>
            <a:off x="3227387" y="6442538"/>
            <a:ext cx="1792287" cy="144000"/>
          </a:xfrm>
        </p:spPr>
        <p:txBody>
          <a:bodyPr/>
          <a:lstStyle>
            <a:lvl1pPr>
              <a:defRPr>
                <a:solidFill>
                  <a:schemeClr val="accent1"/>
                </a:solidFill>
              </a:defRPr>
            </a:lvl1pPr>
          </a:lstStyle>
          <a:p>
            <a:fld id="{33CD7EFF-4668-4734-B2F9-0EE722187E41}" type="datetime4">
              <a:rPr lang="en-GB" smtClean="0"/>
              <a:t>20 February 2025</a:t>
            </a:fld>
            <a:endParaRPr lang="en-GB"/>
          </a:p>
        </p:txBody>
      </p:sp>
      <p:sp>
        <p:nvSpPr>
          <p:cNvPr id="14" name="Text Placeholder 13">
            <a:extLst>
              <a:ext uri="{FF2B5EF4-FFF2-40B4-BE49-F238E27FC236}">
                <a16:creationId xmlns:a16="http://schemas.microsoft.com/office/drawing/2014/main" id="{54EB5721-0BA3-67B2-26CF-5323E47AC805}"/>
              </a:ext>
            </a:extLst>
          </p:cNvPr>
          <p:cNvSpPr>
            <a:spLocks noGrp="1"/>
          </p:cNvSpPr>
          <p:nvPr>
            <p:ph type="body" sz="quarter" idx="20" hasCustomPrompt="1"/>
          </p:nvPr>
        </p:nvSpPr>
        <p:spPr>
          <a:xfrm>
            <a:off x="10929943" y="6253136"/>
            <a:ext cx="991080" cy="333436"/>
          </a:xfrm>
          <a:custGeom>
            <a:avLst/>
            <a:gdLst>
              <a:gd name="connsiteX0" fmla="*/ 777113 w 991080"/>
              <a:gd name="connsiteY0" fmla="*/ 120969 h 333436"/>
              <a:gd name="connsiteX1" fmla="*/ 777113 w 991080"/>
              <a:gd name="connsiteY1" fmla="*/ 212441 h 333436"/>
              <a:gd name="connsiteX2" fmla="*/ 814693 w 991080"/>
              <a:gd name="connsiteY2" fmla="*/ 212441 h 333436"/>
              <a:gd name="connsiteX3" fmla="*/ 829575 w 991080"/>
              <a:gd name="connsiteY3" fmla="*/ 197054 h 333436"/>
              <a:gd name="connsiteX4" fmla="*/ 829575 w 991080"/>
              <a:gd name="connsiteY4" fmla="*/ 136370 h 333436"/>
              <a:gd name="connsiteX5" fmla="*/ 814693 w 991080"/>
              <a:gd name="connsiteY5" fmla="*/ 120969 h 333436"/>
              <a:gd name="connsiteX6" fmla="*/ 511966 w 991080"/>
              <a:gd name="connsiteY6" fmla="*/ 120969 h 333436"/>
              <a:gd name="connsiteX7" fmla="*/ 511966 w 991080"/>
              <a:gd name="connsiteY7" fmla="*/ 212441 h 333436"/>
              <a:gd name="connsiteX8" fmla="*/ 549546 w 991080"/>
              <a:gd name="connsiteY8" fmla="*/ 212441 h 333436"/>
              <a:gd name="connsiteX9" fmla="*/ 564426 w 991080"/>
              <a:gd name="connsiteY9" fmla="*/ 197054 h 333436"/>
              <a:gd name="connsiteX10" fmla="*/ 564426 w 991080"/>
              <a:gd name="connsiteY10" fmla="*/ 136370 h 333436"/>
              <a:gd name="connsiteX11" fmla="*/ 549546 w 991080"/>
              <a:gd name="connsiteY11" fmla="*/ 120969 h 333436"/>
              <a:gd name="connsiteX12" fmla="*/ 191228 w 991080"/>
              <a:gd name="connsiteY12" fmla="*/ 89978 h 333436"/>
              <a:gd name="connsiteX13" fmla="*/ 190277 w 991080"/>
              <a:gd name="connsiteY13" fmla="*/ 90227 h 333436"/>
              <a:gd name="connsiteX14" fmla="*/ 189581 w 991080"/>
              <a:gd name="connsiteY14" fmla="*/ 90906 h 333436"/>
              <a:gd name="connsiteX15" fmla="*/ 189323 w 991080"/>
              <a:gd name="connsiteY15" fmla="*/ 91832 h 333436"/>
              <a:gd name="connsiteX16" fmla="*/ 189575 w 991080"/>
              <a:gd name="connsiteY16" fmla="*/ 92760 h 333436"/>
              <a:gd name="connsiteX17" fmla="*/ 225952 w 991080"/>
              <a:gd name="connsiteY17" fmla="*/ 154132 h 333436"/>
              <a:gd name="connsiteX18" fmla="*/ 162923 w 991080"/>
              <a:gd name="connsiteY18" fmla="*/ 118717 h 333436"/>
              <a:gd name="connsiteX19" fmla="*/ 161970 w 991080"/>
              <a:gd name="connsiteY19" fmla="*/ 118472 h 333436"/>
              <a:gd name="connsiteX20" fmla="*/ 161020 w 991080"/>
              <a:gd name="connsiteY20" fmla="*/ 118722 h 333436"/>
              <a:gd name="connsiteX21" fmla="*/ 160324 w 991080"/>
              <a:gd name="connsiteY21" fmla="*/ 119401 h 333436"/>
              <a:gd name="connsiteX22" fmla="*/ 160067 w 991080"/>
              <a:gd name="connsiteY22" fmla="*/ 120328 h 333436"/>
              <a:gd name="connsiteX23" fmla="*/ 160067 w 991080"/>
              <a:gd name="connsiteY23" fmla="*/ 213103 h 333436"/>
              <a:gd name="connsiteX24" fmla="*/ 160324 w 991080"/>
              <a:gd name="connsiteY24" fmla="*/ 214030 h 333436"/>
              <a:gd name="connsiteX25" fmla="*/ 161020 w 991080"/>
              <a:gd name="connsiteY25" fmla="*/ 214708 h 333436"/>
              <a:gd name="connsiteX26" fmla="*/ 161970 w 991080"/>
              <a:gd name="connsiteY26" fmla="*/ 214959 h 333436"/>
              <a:gd name="connsiteX27" fmla="*/ 162923 w 991080"/>
              <a:gd name="connsiteY27" fmla="*/ 214714 h 333436"/>
              <a:gd name="connsiteX28" fmla="*/ 225952 w 991080"/>
              <a:gd name="connsiteY28" fmla="*/ 179299 h 333436"/>
              <a:gd name="connsiteX29" fmla="*/ 189635 w 991080"/>
              <a:gd name="connsiteY29" fmla="*/ 240670 h 333436"/>
              <a:gd name="connsiteX30" fmla="*/ 189383 w 991080"/>
              <a:gd name="connsiteY30" fmla="*/ 241598 h 333436"/>
              <a:gd name="connsiteX31" fmla="*/ 189641 w 991080"/>
              <a:gd name="connsiteY31" fmla="*/ 242525 h 333436"/>
              <a:gd name="connsiteX32" fmla="*/ 190337 w 991080"/>
              <a:gd name="connsiteY32" fmla="*/ 243203 h 333436"/>
              <a:gd name="connsiteX33" fmla="*/ 191288 w 991080"/>
              <a:gd name="connsiteY33" fmla="*/ 243453 h 333436"/>
              <a:gd name="connsiteX34" fmla="*/ 286486 w 991080"/>
              <a:gd name="connsiteY34" fmla="*/ 243453 h 333436"/>
              <a:gd name="connsiteX35" fmla="*/ 287437 w 991080"/>
              <a:gd name="connsiteY35" fmla="*/ 243203 h 333436"/>
              <a:gd name="connsiteX36" fmla="*/ 288134 w 991080"/>
              <a:gd name="connsiteY36" fmla="*/ 242525 h 333436"/>
              <a:gd name="connsiteX37" fmla="*/ 288391 w 991080"/>
              <a:gd name="connsiteY37" fmla="*/ 241598 h 333436"/>
              <a:gd name="connsiteX38" fmla="*/ 288139 w 991080"/>
              <a:gd name="connsiteY38" fmla="*/ 240670 h 333436"/>
              <a:gd name="connsiteX39" fmla="*/ 251777 w 991080"/>
              <a:gd name="connsiteY39" fmla="*/ 179299 h 333436"/>
              <a:gd name="connsiteX40" fmla="*/ 314790 w 991080"/>
              <a:gd name="connsiteY40" fmla="*/ 214714 h 333436"/>
              <a:gd name="connsiteX41" fmla="*/ 315745 w 991080"/>
              <a:gd name="connsiteY41" fmla="*/ 214969 h 333436"/>
              <a:gd name="connsiteX42" fmla="*/ 316702 w 991080"/>
              <a:gd name="connsiteY42" fmla="*/ 214721 h 333436"/>
              <a:gd name="connsiteX43" fmla="*/ 317399 w 991080"/>
              <a:gd name="connsiteY43" fmla="*/ 214037 h 333436"/>
              <a:gd name="connsiteX44" fmla="*/ 317647 w 991080"/>
              <a:gd name="connsiteY44" fmla="*/ 213103 h 333436"/>
              <a:gd name="connsiteX45" fmla="*/ 317647 w 991080"/>
              <a:gd name="connsiteY45" fmla="*/ 120328 h 333436"/>
              <a:gd name="connsiteX46" fmla="*/ 317399 w 991080"/>
              <a:gd name="connsiteY46" fmla="*/ 119393 h 333436"/>
              <a:gd name="connsiteX47" fmla="*/ 316702 w 991080"/>
              <a:gd name="connsiteY47" fmla="*/ 118709 h 333436"/>
              <a:gd name="connsiteX48" fmla="*/ 315745 w 991080"/>
              <a:gd name="connsiteY48" fmla="*/ 118461 h 333436"/>
              <a:gd name="connsiteX49" fmla="*/ 314790 w 991080"/>
              <a:gd name="connsiteY49" fmla="*/ 118717 h 333436"/>
              <a:gd name="connsiteX50" fmla="*/ 251777 w 991080"/>
              <a:gd name="connsiteY50" fmla="*/ 154132 h 333436"/>
              <a:gd name="connsiteX51" fmla="*/ 288139 w 991080"/>
              <a:gd name="connsiteY51" fmla="*/ 92760 h 333436"/>
              <a:gd name="connsiteX52" fmla="*/ 288391 w 991080"/>
              <a:gd name="connsiteY52" fmla="*/ 91832 h 333436"/>
              <a:gd name="connsiteX53" fmla="*/ 288134 w 991080"/>
              <a:gd name="connsiteY53" fmla="*/ 90906 h 333436"/>
              <a:gd name="connsiteX54" fmla="*/ 287437 w 991080"/>
              <a:gd name="connsiteY54" fmla="*/ 90227 h 333436"/>
              <a:gd name="connsiteX55" fmla="*/ 286486 w 991080"/>
              <a:gd name="connsiteY55" fmla="*/ 89978 h 333436"/>
              <a:gd name="connsiteX56" fmla="*/ 746614 w 991080"/>
              <a:gd name="connsiteY56" fmla="*/ 89975 h 333436"/>
              <a:gd name="connsiteX57" fmla="*/ 819428 w 991080"/>
              <a:gd name="connsiteY57" fmla="*/ 89975 h 333436"/>
              <a:gd name="connsiteX58" fmla="*/ 863622 w 991080"/>
              <a:gd name="connsiteY58" fmla="*/ 130646 h 333436"/>
              <a:gd name="connsiteX59" fmla="*/ 863622 w 991080"/>
              <a:gd name="connsiteY59" fmla="*/ 202837 h 333436"/>
              <a:gd name="connsiteX60" fmla="*/ 819428 w 991080"/>
              <a:gd name="connsiteY60" fmla="*/ 243508 h 333436"/>
              <a:gd name="connsiteX61" fmla="*/ 746614 w 991080"/>
              <a:gd name="connsiteY61" fmla="*/ 243508 h 333436"/>
              <a:gd name="connsiteX62" fmla="*/ 743006 w 991080"/>
              <a:gd name="connsiteY62" fmla="*/ 239994 h 333436"/>
              <a:gd name="connsiteX63" fmla="*/ 743006 w 991080"/>
              <a:gd name="connsiteY63" fmla="*/ 93489 h 333436"/>
              <a:gd name="connsiteX64" fmla="*/ 746614 w 991080"/>
              <a:gd name="connsiteY64" fmla="*/ 89975 h 333436"/>
              <a:gd name="connsiteX65" fmla="*/ 624298 w 991080"/>
              <a:gd name="connsiteY65" fmla="*/ 89975 h 333436"/>
              <a:gd name="connsiteX66" fmla="*/ 721014 w 991080"/>
              <a:gd name="connsiteY66" fmla="*/ 89975 h 333436"/>
              <a:gd name="connsiteX67" fmla="*/ 724621 w 991080"/>
              <a:gd name="connsiteY67" fmla="*/ 93489 h 333436"/>
              <a:gd name="connsiteX68" fmla="*/ 724621 w 991080"/>
              <a:gd name="connsiteY68" fmla="*/ 117455 h 333436"/>
              <a:gd name="connsiteX69" fmla="*/ 721014 w 991080"/>
              <a:gd name="connsiteY69" fmla="*/ 120969 h 333436"/>
              <a:gd name="connsiteX70" fmla="*/ 654738 w 991080"/>
              <a:gd name="connsiteY70" fmla="*/ 120969 h 333436"/>
              <a:gd name="connsiteX71" fmla="*/ 654738 w 991080"/>
              <a:gd name="connsiteY71" fmla="*/ 154173 h 333436"/>
              <a:gd name="connsiteX72" fmla="*/ 712656 w 991080"/>
              <a:gd name="connsiteY72" fmla="*/ 154173 h 333436"/>
              <a:gd name="connsiteX73" fmla="*/ 716263 w 991080"/>
              <a:gd name="connsiteY73" fmla="*/ 157701 h 333436"/>
              <a:gd name="connsiteX74" fmla="*/ 716263 w 991080"/>
              <a:gd name="connsiteY74" fmla="*/ 181726 h 333436"/>
              <a:gd name="connsiteX75" fmla="*/ 712656 w 991080"/>
              <a:gd name="connsiteY75" fmla="*/ 185240 h 333436"/>
              <a:gd name="connsiteX76" fmla="*/ 654738 w 991080"/>
              <a:gd name="connsiteY76" fmla="*/ 185240 h 333436"/>
              <a:gd name="connsiteX77" fmla="*/ 654738 w 991080"/>
              <a:gd name="connsiteY77" fmla="*/ 239994 h 333436"/>
              <a:gd name="connsiteX78" fmla="*/ 651130 w 991080"/>
              <a:gd name="connsiteY78" fmla="*/ 243508 h 333436"/>
              <a:gd name="connsiteX79" fmla="*/ 624298 w 991080"/>
              <a:gd name="connsiteY79" fmla="*/ 243508 h 333436"/>
              <a:gd name="connsiteX80" fmla="*/ 620690 w 991080"/>
              <a:gd name="connsiteY80" fmla="*/ 239994 h 333436"/>
              <a:gd name="connsiteX81" fmla="*/ 620690 w 991080"/>
              <a:gd name="connsiteY81" fmla="*/ 93489 h 333436"/>
              <a:gd name="connsiteX82" fmla="*/ 624298 w 991080"/>
              <a:gd name="connsiteY82" fmla="*/ 89975 h 333436"/>
              <a:gd name="connsiteX83" fmla="*/ 481496 w 991080"/>
              <a:gd name="connsiteY83" fmla="*/ 89975 h 333436"/>
              <a:gd name="connsiteX84" fmla="*/ 554280 w 991080"/>
              <a:gd name="connsiteY84" fmla="*/ 89975 h 333436"/>
              <a:gd name="connsiteX85" fmla="*/ 598519 w 991080"/>
              <a:gd name="connsiteY85" fmla="*/ 130646 h 333436"/>
              <a:gd name="connsiteX86" fmla="*/ 598519 w 991080"/>
              <a:gd name="connsiteY86" fmla="*/ 202837 h 333436"/>
              <a:gd name="connsiteX87" fmla="*/ 554325 w 991080"/>
              <a:gd name="connsiteY87" fmla="*/ 243508 h 333436"/>
              <a:gd name="connsiteX88" fmla="*/ 481496 w 991080"/>
              <a:gd name="connsiteY88" fmla="*/ 243508 h 333436"/>
              <a:gd name="connsiteX89" fmla="*/ 477888 w 991080"/>
              <a:gd name="connsiteY89" fmla="*/ 239994 h 333436"/>
              <a:gd name="connsiteX90" fmla="*/ 477888 w 991080"/>
              <a:gd name="connsiteY90" fmla="*/ 93489 h 333436"/>
              <a:gd name="connsiteX91" fmla="*/ 481496 w 991080"/>
              <a:gd name="connsiteY91" fmla="*/ 89975 h 333436"/>
              <a:gd name="connsiteX92" fmla="*/ 925345 w 991080"/>
              <a:gd name="connsiteY92" fmla="*/ 88877 h 333436"/>
              <a:gd name="connsiteX93" fmla="*/ 978107 w 991080"/>
              <a:gd name="connsiteY93" fmla="*/ 89536 h 333436"/>
              <a:gd name="connsiteX94" fmla="*/ 981717 w 991080"/>
              <a:gd name="connsiteY94" fmla="*/ 93050 h 333436"/>
              <a:gd name="connsiteX95" fmla="*/ 981717 w 991080"/>
              <a:gd name="connsiteY95" fmla="*/ 117016 h 333436"/>
              <a:gd name="connsiteX96" fmla="*/ 978107 w 991080"/>
              <a:gd name="connsiteY96" fmla="*/ 120529 h 333436"/>
              <a:gd name="connsiteX97" fmla="*/ 930005 w 991080"/>
              <a:gd name="connsiteY97" fmla="*/ 119870 h 333436"/>
              <a:gd name="connsiteX98" fmla="*/ 915123 w 991080"/>
              <a:gd name="connsiteY98" fmla="*/ 130866 h 333436"/>
              <a:gd name="connsiteX99" fmla="*/ 915123 w 991080"/>
              <a:gd name="connsiteY99" fmla="*/ 133955 h 333436"/>
              <a:gd name="connsiteX100" fmla="*/ 925044 w 991080"/>
              <a:gd name="connsiteY100" fmla="*/ 146048 h 333436"/>
              <a:gd name="connsiteX101" fmla="*/ 959990 w 991080"/>
              <a:gd name="connsiteY101" fmla="*/ 157263 h 333436"/>
              <a:gd name="connsiteX102" fmla="*/ 991080 w 991080"/>
              <a:gd name="connsiteY102" fmla="*/ 194229 h 333436"/>
              <a:gd name="connsiteX103" fmla="*/ 991080 w 991080"/>
              <a:gd name="connsiteY103" fmla="*/ 206322 h 333436"/>
              <a:gd name="connsiteX104" fmla="*/ 946990 w 991080"/>
              <a:gd name="connsiteY104" fmla="*/ 244635 h 333436"/>
              <a:gd name="connsiteX105" fmla="*/ 885991 w 991080"/>
              <a:gd name="connsiteY105" fmla="*/ 243977 h 333436"/>
              <a:gd name="connsiteX106" fmla="*/ 882383 w 991080"/>
              <a:gd name="connsiteY106" fmla="*/ 240463 h 333436"/>
              <a:gd name="connsiteX107" fmla="*/ 882383 w 991080"/>
              <a:gd name="connsiteY107" fmla="*/ 216497 h 333436"/>
              <a:gd name="connsiteX108" fmla="*/ 885991 w 991080"/>
              <a:gd name="connsiteY108" fmla="*/ 212969 h 333436"/>
              <a:gd name="connsiteX109" fmla="*/ 942256 w 991080"/>
              <a:gd name="connsiteY109" fmla="*/ 213642 h 333436"/>
              <a:gd name="connsiteX110" fmla="*/ 956914 w 991080"/>
              <a:gd name="connsiteY110" fmla="*/ 201930 h 333436"/>
              <a:gd name="connsiteX111" fmla="*/ 956914 w 991080"/>
              <a:gd name="connsiteY111" fmla="*/ 198372 h 333436"/>
              <a:gd name="connsiteX112" fmla="*/ 946990 w 991080"/>
              <a:gd name="connsiteY112" fmla="*/ 185620 h 333436"/>
              <a:gd name="connsiteX113" fmla="*/ 912267 w 991080"/>
              <a:gd name="connsiteY113" fmla="*/ 174626 h 333436"/>
              <a:gd name="connsiteX114" fmla="*/ 881166 w 991080"/>
              <a:gd name="connsiteY114" fmla="*/ 137908 h 333436"/>
              <a:gd name="connsiteX115" fmla="*/ 881166 w 991080"/>
              <a:gd name="connsiteY115" fmla="*/ 126034 h 333436"/>
              <a:gd name="connsiteX116" fmla="*/ 925345 w 991080"/>
              <a:gd name="connsiteY116" fmla="*/ 88877 h 333436"/>
              <a:gd name="connsiteX117" fmla="*/ 199827 w 991080"/>
              <a:gd name="connsiteY117" fmla="*/ 28 h 333436"/>
              <a:gd name="connsiteX118" fmla="*/ 475181 w 991080"/>
              <a:gd name="connsiteY118" fmla="*/ 28 h 333436"/>
              <a:gd name="connsiteX119" fmla="*/ 476520 w 991080"/>
              <a:gd name="connsiteY119" fmla="*/ 207 h 333436"/>
              <a:gd name="connsiteX120" fmla="*/ 477528 w 991080"/>
              <a:gd name="connsiteY120" fmla="*/ 1084 h 333436"/>
              <a:gd name="connsiteX121" fmla="*/ 477861 w 991080"/>
              <a:gd name="connsiteY121" fmla="*/ 2360 h 333436"/>
              <a:gd name="connsiteX122" fmla="*/ 477406 w 991080"/>
              <a:gd name="connsiteY122" fmla="*/ 3600 h 333436"/>
              <a:gd name="connsiteX123" fmla="*/ 283885 w 991080"/>
              <a:gd name="connsiteY123" fmla="*/ 330080 h 333436"/>
              <a:gd name="connsiteX124" fmla="*/ 281459 w 991080"/>
              <a:gd name="connsiteY124" fmla="*/ 332601 h 333436"/>
              <a:gd name="connsiteX125" fmla="*/ 278008 w 991080"/>
              <a:gd name="connsiteY125" fmla="*/ 333403 h 333436"/>
              <a:gd name="connsiteX126" fmla="*/ 2713 w 991080"/>
              <a:gd name="connsiteY126" fmla="*/ 333403 h 333436"/>
              <a:gd name="connsiteX127" fmla="*/ 1359 w 991080"/>
              <a:gd name="connsiteY127" fmla="*/ 333235 h 333436"/>
              <a:gd name="connsiteX128" fmla="*/ 337 w 991080"/>
              <a:gd name="connsiteY128" fmla="*/ 332353 h 333436"/>
              <a:gd name="connsiteX129" fmla="*/ 3 w 991080"/>
              <a:gd name="connsiteY129" fmla="*/ 331064 h 333436"/>
              <a:gd name="connsiteX130" fmla="*/ 473 w 991080"/>
              <a:gd name="connsiteY130" fmla="*/ 329816 h 333436"/>
              <a:gd name="connsiteX131" fmla="*/ 193949 w 991080"/>
              <a:gd name="connsiteY131" fmla="*/ 3351 h 333436"/>
              <a:gd name="connsiteX132" fmla="*/ 196375 w 991080"/>
              <a:gd name="connsiteY132" fmla="*/ 829 h 333436"/>
              <a:gd name="connsiteX133" fmla="*/ 199827 w 991080"/>
              <a:gd name="connsiteY133" fmla="*/ 28 h 333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Lst>
            <a:rect l="l" t="t" r="r" b="b"/>
            <a:pathLst>
              <a:path w="991080" h="333436">
                <a:moveTo>
                  <a:pt x="777113" y="120969"/>
                </a:moveTo>
                <a:lnTo>
                  <a:pt x="777113" y="212441"/>
                </a:lnTo>
                <a:lnTo>
                  <a:pt x="814693" y="212441"/>
                </a:lnTo>
                <a:cubicBezTo>
                  <a:pt x="825291" y="212441"/>
                  <a:pt x="829575" y="208049"/>
                  <a:pt x="829575" y="197054"/>
                </a:cubicBezTo>
                <a:lnTo>
                  <a:pt x="829575" y="136370"/>
                </a:lnTo>
                <a:cubicBezTo>
                  <a:pt x="829575" y="125361"/>
                  <a:pt x="825291" y="120969"/>
                  <a:pt x="814693" y="120969"/>
                </a:cubicBezTo>
                <a:close/>
                <a:moveTo>
                  <a:pt x="511966" y="120969"/>
                </a:moveTo>
                <a:lnTo>
                  <a:pt x="511966" y="212441"/>
                </a:lnTo>
                <a:lnTo>
                  <a:pt x="549546" y="212441"/>
                </a:lnTo>
                <a:cubicBezTo>
                  <a:pt x="560143" y="212441"/>
                  <a:pt x="564426" y="208049"/>
                  <a:pt x="564426" y="197054"/>
                </a:cubicBezTo>
                <a:lnTo>
                  <a:pt x="564426" y="136370"/>
                </a:lnTo>
                <a:cubicBezTo>
                  <a:pt x="564426" y="125361"/>
                  <a:pt x="560143" y="120969"/>
                  <a:pt x="549546" y="120969"/>
                </a:cubicBezTo>
                <a:close/>
                <a:moveTo>
                  <a:pt x="191228" y="89978"/>
                </a:moveTo>
                <a:cubicBezTo>
                  <a:pt x="190894" y="89979"/>
                  <a:pt x="190566" y="90065"/>
                  <a:pt x="190277" y="90227"/>
                </a:cubicBezTo>
                <a:cubicBezTo>
                  <a:pt x="189988" y="90390"/>
                  <a:pt x="189747" y="90624"/>
                  <a:pt x="189581" y="90906"/>
                </a:cubicBezTo>
                <a:cubicBezTo>
                  <a:pt x="189413" y="91187"/>
                  <a:pt x="189324" y="91507"/>
                  <a:pt x="189323" y="91832"/>
                </a:cubicBezTo>
                <a:cubicBezTo>
                  <a:pt x="189322" y="92157"/>
                  <a:pt x="189409" y="92477"/>
                  <a:pt x="189575" y="92760"/>
                </a:cubicBezTo>
                <a:lnTo>
                  <a:pt x="225952" y="154132"/>
                </a:lnTo>
                <a:lnTo>
                  <a:pt x="162923" y="118717"/>
                </a:lnTo>
                <a:cubicBezTo>
                  <a:pt x="162633" y="118555"/>
                  <a:pt x="162305" y="118471"/>
                  <a:pt x="161970" y="118472"/>
                </a:cubicBezTo>
                <a:cubicBezTo>
                  <a:pt x="161637" y="118473"/>
                  <a:pt x="161308" y="118559"/>
                  <a:pt x="161020" y="118722"/>
                </a:cubicBezTo>
                <a:cubicBezTo>
                  <a:pt x="160730" y="118886"/>
                  <a:pt x="160490" y="119119"/>
                  <a:pt x="160324" y="119401"/>
                </a:cubicBezTo>
                <a:cubicBezTo>
                  <a:pt x="160156" y="119683"/>
                  <a:pt x="160067" y="120002"/>
                  <a:pt x="160067" y="120328"/>
                </a:cubicBezTo>
                <a:lnTo>
                  <a:pt x="160067" y="213103"/>
                </a:lnTo>
                <a:cubicBezTo>
                  <a:pt x="160067" y="213429"/>
                  <a:pt x="160156" y="213748"/>
                  <a:pt x="160324" y="214030"/>
                </a:cubicBezTo>
                <a:cubicBezTo>
                  <a:pt x="160490" y="214311"/>
                  <a:pt x="160730" y="214545"/>
                  <a:pt x="161020" y="214708"/>
                </a:cubicBezTo>
                <a:cubicBezTo>
                  <a:pt x="161308" y="214871"/>
                  <a:pt x="161637" y="214958"/>
                  <a:pt x="161970" y="214959"/>
                </a:cubicBezTo>
                <a:cubicBezTo>
                  <a:pt x="162305" y="214959"/>
                  <a:pt x="162633" y="214875"/>
                  <a:pt x="162923" y="214714"/>
                </a:cubicBezTo>
                <a:lnTo>
                  <a:pt x="225952" y="179299"/>
                </a:lnTo>
                <a:lnTo>
                  <a:pt x="189635" y="240670"/>
                </a:lnTo>
                <a:cubicBezTo>
                  <a:pt x="189469" y="240953"/>
                  <a:pt x="189382" y="241273"/>
                  <a:pt x="189383" y="241598"/>
                </a:cubicBezTo>
                <a:cubicBezTo>
                  <a:pt x="189384" y="241924"/>
                  <a:pt x="189473" y="242243"/>
                  <a:pt x="189641" y="242525"/>
                </a:cubicBezTo>
                <a:cubicBezTo>
                  <a:pt x="189807" y="242806"/>
                  <a:pt x="190048" y="243040"/>
                  <a:pt x="190337" y="243203"/>
                </a:cubicBezTo>
                <a:cubicBezTo>
                  <a:pt x="190626" y="243366"/>
                  <a:pt x="190954" y="243452"/>
                  <a:pt x="191288" y="243453"/>
                </a:cubicBezTo>
                <a:lnTo>
                  <a:pt x="286486" y="243453"/>
                </a:lnTo>
                <a:cubicBezTo>
                  <a:pt x="286819" y="243452"/>
                  <a:pt x="287148" y="243366"/>
                  <a:pt x="287437" y="243203"/>
                </a:cubicBezTo>
                <a:cubicBezTo>
                  <a:pt x="287726" y="243040"/>
                  <a:pt x="287966" y="242806"/>
                  <a:pt x="288134" y="242525"/>
                </a:cubicBezTo>
                <a:cubicBezTo>
                  <a:pt x="288301" y="242243"/>
                  <a:pt x="288390" y="241924"/>
                  <a:pt x="288391" y="241598"/>
                </a:cubicBezTo>
                <a:cubicBezTo>
                  <a:pt x="288392" y="241273"/>
                  <a:pt x="288304" y="240953"/>
                  <a:pt x="288139" y="240670"/>
                </a:cubicBezTo>
                <a:lnTo>
                  <a:pt x="251777" y="179299"/>
                </a:lnTo>
                <a:lnTo>
                  <a:pt x="314790" y="214714"/>
                </a:lnTo>
                <a:cubicBezTo>
                  <a:pt x="315080" y="214879"/>
                  <a:pt x="315410" y="214968"/>
                  <a:pt x="315745" y="214969"/>
                </a:cubicBezTo>
                <a:cubicBezTo>
                  <a:pt x="316081" y="214971"/>
                  <a:pt x="316412" y="214885"/>
                  <a:pt x="316702" y="214721"/>
                </a:cubicBezTo>
                <a:cubicBezTo>
                  <a:pt x="316993" y="214558"/>
                  <a:pt x="317233" y="214321"/>
                  <a:pt x="317399" y="214037"/>
                </a:cubicBezTo>
                <a:cubicBezTo>
                  <a:pt x="317565" y="213753"/>
                  <a:pt x="317651" y="213430"/>
                  <a:pt x="317647" y="213103"/>
                </a:cubicBezTo>
                <a:lnTo>
                  <a:pt x="317647" y="120328"/>
                </a:lnTo>
                <a:cubicBezTo>
                  <a:pt x="317651" y="120000"/>
                  <a:pt x="317565" y="119678"/>
                  <a:pt x="317399" y="119393"/>
                </a:cubicBezTo>
                <a:cubicBezTo>
                  <a:pt x="317233" y="119109"/>
                  <a:pt x="316993" y="118873"/>
                  <a:pt x="316702" y="118709"/>
                </a:cubicBezTo>
                <a:cubicBezTo>
                  <a:pt x="316412" y="118546"/>
                  <a:pt x="316081" y="118460"/>
                  <a:pt x="315745" y="118461"/>
                </a:cubicBezTo>
                <a:cubicBezTo>
                  <a:pt x="315410" y="118463"/>
                  <a:pt x="315080" y="118550"/>
                  <a:pt x="314790" y="118717"/>
                </a:cubicBezTo>
                <a:lnTo>
                  <a:pt x="251777" y="154132"/>
                </a:lnTo>
                <a:lnTo>
                  <a:pt x="288139" y="92760"/>
                </a:lnTo>
                <a:cubicBezTo>
                  <a:pt x="288304" y="92477"/>
                  <a:pt x="288392" y="92157"/>
                  <a:pt x="288391" y="91832"/>
                </a:cubicBezTo>
                <a:cubicBezTo>
                  <a:pt x="288390" y="91507"/>
                  <a:pt x="288301" y="91187"/>
                  <a:pt x="288134" y="90906"/>
                </a:cubicBezTo>
                <a:cubicBezTo>
                  <a:pt x="287966" y="90624"/>
                  <a:pt x="287726" y="90390"/>
                  <a:pt x="287437" y="90227"/>
                </a:cubicBezTo>
                <a:cubicBezTo>
                  <a:pt x="287148" y="90065"/>
                  <a:pt x="286819" y="89979"/>
                  <a:pt x="286486" y="89978"/>
                </a:cubicBezTo>
                <a:close/>
                <a:moveTo>
                  <a:pt x="746614" y="89975"/>
                </a:moveTo>
                <a:lnTo>
                  <a:pt x="819428" y="89975"/>
                </a:lnTo>
                <a:cubicBezTo>
                  <a:pt x="847388" y="89975"/>
                  <a:pt x="863622" y="105142"/>
                  <a:pt x="863622" y="130646"/>
                </a:cubicBezTo>
                <a:lnTo>
                  <a:pt x="863622" y="202837"/>
                </a:lnTo>
                <a:cubicBezTo>
                  <a:pt x="863622" y="228341"/>
                  <a:pt x="847388" y="243508"/>
                  <a:pt x="819428" y="243508"/>
                </a:cubicBezTo>
                <a:lnTo>
                  <a:pt x="746614" y="243508"/>
                </a:lnTo>
                <a:cubicBezTo>
                  <a:pt x="743908" y="243508"/>
                  <a:pt x="743006" y="242630"/>
                  <a:pt x="743006" y="239994"/>
                </a:cubicBezTo>
                <a:lnTo>
                  <a:pt x="743006" y="93489"/>
                </a:lnTo>
                <a:cubicBezTo>
                  <a:pt x="743006" y="90853"/>
                  <a:pt x="743908" y="89975"/>
                  <a:pt x="746614" y="89975"/>
                </a:cubicBezTo>
                <a:close/>
                <a:moveTo>
                  <a:pt x="624298" y="89975"/>
                </a:moveTo>
                <a:lnTo>
                  <a:pt x="721014" y="89975"/>
                </a:lnTo>
                <a:cubicBezTo>
                  <a:pt x="723719" y="89975"/>
                  <a:pt x="724621" y="90853"/>
                  <a:pt x="724621" y="93489"/>
                </a:cubicBezTo>
                <a:lnTo>
                  <a:pt x="724621" y="117455"/>
                </a:lnTo>
                <a:cubicBezTo>
                  <a:pt x="724621" y="120091"/>
                  <a:pt x="723719" y="120969"/>
                  <a:pt x="721014" y="120969"/>
                </a:cubicBezTo>
                <a:lnTo>
                  <a:pt x="654738" y="120969"/>
                </a:lnTo>
                <a:lnTo>
                  <a:pt x="654738" y="154173"/>
                </a:lnTo>
                <a:lnTo>
                  <a:pt x="712656" y="154173"/>
                </a:lnTo>
                <a:cubicBezTo>
                  <a:pt x="715362" y="154173"/>
                  <a:pt x="716263" y="155051"/>
                  <a:pt x="716263" y="157701"/>
                </a:cubicBezTo>
                <a:lnTo>
                  <a:pt x="716263" y="181726"/>
                </a:lnTo>
                <a:cubicBezTo>
                  <a:pt x="716263" y="184361"/>
                  <a:pt x="715362" y="185240"/>
                  <a:pt x="712656" y="185240"/>
                </a:cubicBezTo>
                <a:lnTo>
                  <a:pt x="654738" y="185240"/>
                </a:lnTo>
                <a:lnTo>
                  <a:pt x="654738" y="239994"/>
                </a:lnTo>
                <a:cubicBezTo>
                  <a:pt x="654738" y="242630"/>
                  <a:pt x="653836" y="243508"/>
                  <a:pt x="651130" y="243508"/>
                </a:cubicBezTo>
                <a:lnTo>
                  <a:pt x="624298" y="243508"/>
                </a:lnTo>
                <a:cubicBezTo>
                  <a:pt x="621592" y="243508"/>
                  <a:pt x="620690" y="242630"/>
                  <a:pt x="620690" y="239994"/>
                </a:cubicBezTo>
                <a:lnTo>
                  <a:pt x="620690" y="93489"/>
                </a:lnTo>
                <a:cubicBezTo>
                  <a:pt x="620690" y="90853"/>
                  <a:pt x="621592" y="89975"/>
                  <a:pt x="624298" y="89975"/>
                </a:cubicBezTo>
                <a:close/>
                <a:moveTo>
                  <a:pt x="481496" y="89975"/>
                </a:moveTo>
                <a:lnTo>
                  <a:pt x="554280" y="89975"/>
                </a:lnTo>
                <a:cubicBezTo>
                  <a:pt x="582210" y="89975"/>
                  <a:pt x="598475" y="105142"/>
                  <a:pt x="598519" y="130646"/>
                </a:cubicBezTo>
                <a:lnTo>
                  <a:pt x="598519" y="202837"/>
                </a:lnTo>
                <a:cubicBezTo>
                  <a:pt x="598519" y="228341"/>
                  <a:pt x="582285" y="243508"/>
                  <a:pt x="554325" y="243508"/>
                </a:cubicBezTo>
                <a:lnTo>
                  <a:pt x="481496" y="243508"/>
                </a:lnTo>
                <a:cubicBezTo>
                  <a:pt x="478790" y="243508"/>
                  <a:pt x="477888" y="242630"/>
                  <a:pt x="477888" y="239994"/>
                </a:cubicBezTo>
                <a:lnTo>
                  <a:pt x="477888" y="93489"/>
                </a:lnTo>
                <a:cubicBezTo>
                  <a:pt x="477888" y="90853"/>
                  <a:pt x="478790" y="89975"/>
                  <a:pt x="481496" y="89975"/>
                </a:cubicBezTo>
                <a:close/>
                <a:moveTo>
                  <a:pt x="925345" y="88877"/>
                </a:moveTo>
                <a:cubicBezTo>
                  <a:pt x="949922" y="88877"/>
                  <a:pt x="978107" y="89536"/>
                  <a:pt x="978107" y="89536"/>
                </a:cubicBezTo>
                <a:cubicBezTo>
                  <a:pt x="980812" y="89536"/>
                  <a:pt x="981717" y="90414"/>
                  <a:pt x="981717" y="93050"/>
                </a:cubicBezTo>
                <a:lnTo>
                  <a:pt x="981717" y="117016"/>
                </a:lnTo>
                <a:cubicBezTo>
                  <a:pt x="981717" y="119651"/>
                  <a:pt x="980812" y="120529"/>
                  <a:pt x="978107" y="120529"/>
                </a:cubicBezTo>
                <a:cubicBezTo>
                  <a:pt x="978107" y="120529"/>
                  <a:pt x="952327" y="119870"/>
                  <a:pt x="930005" y="119870"/>
                </a:cubicBezTo>
                <a:cubicBezTo>
                  <a:pt x="919407" y="119870"/>
                  <a:pt x="915123" y="119870"/>
                  <a:pt x="915123" y="130866"/>
                </a:cubicBezTo>
                <a:lnTo>
                  <a:pt x="915123" y="133955"/>
                </a:lnTo>
                <a:cubicBezTo>
                  <a:pt x="915123" y="142080"/>
                  <a:pt x="917152" y="143617"/>
                  <a:pt x="925044" y="146048"/>
                </a:cubicBezTo>
                <a:lnTo>
                  <a:pt x="959990" y="157263"/>
                </a:lnTo>
                <a:cubicBezTo>
                  <a:pt x="974878" y="161874"/>
                  <a:pt x="991080" y="166486"/>
                  <a:pt x="991080" y="194229"/>
                </a:cubicBezTo>
                <a:lnTo>
                  <a:pt x="991080" y="206322"/>
                </a:lnTo>
                <a:cubicBezTo>
                  <a:pt x="991080" y="231796"/>
                  <a:pt x="975173" y="244635"/>
                  <a:pt x="946990" y="244635"/>
                </a:cubicBezTo>
                <a:cubicBezTo>
                  <a:pt x="918806" y="244635"/>
                  <a:pt x="885991" y="243977"/>
                  <a:pt x="885991" y="243977"/>
                </a:cubicBezTo>
                <a:cubicBezTo>
                  <a:pt x="883285" y="243977"/>
                  <a:pt x="882383" y="243098"/>
                  <a:pt x="882383" y="240463"/>
                </a:cubicBezTo>
                <a:lnTo>
                  <a:pt x="882383" y="216497"/>
                </a:lnTo>
                <a:cubicBezTo>
                  <a:pt x="882383" y="213862"/>
                  <a:pt x="883285" y="212969"/>
                  <a:pt x="885991" y="212969"/>
                </a:cubicBezTo>
                <a:cubicBezTo>
                  <a:pt x="885991" y="212969"/>
                  <a:pt x="918205" y="213642"/>
                  <a:pt x="942256" y="213642"/>
                </a:cubicBezTo>
                <a:cubicBezTo>
                  <a:pt x="952856" y="213642"/>
                  <a:pt x="956914" y="212910"/>
                  <a:pt x="956914" y="201930"/>
                </a:cubicBezTo>
                <a:lnTo>
                  <a:pt x="956914" y="198372"/>
                </a:lnTo>
                <a:cubicBezTo>
                  <a:pt x="956914" y="190247"/>
                  <a:pt x="954885" y="188036"/>
                  <a:pt x="946990" y="185620"/>
                </a:cubicBezTo>
                <a:lnTo>
                  <a:pt x="912267" y="174626"/>
                </a:lnTo>
                <a:cubicBezTo>
                  <a:pt x="897159" y="170014"/>
                  <a:pt x="881166" y="165387"/>
                  <a:pt x="881166" y="137908"/>
                </a:cubicBezTo>
                <a:lnTo>
                  <a:pt x="881166" y="126034"/>
                </a:lnTo>
                <a:cubicBezTo>
                  <a:pt x="881166" y="100590"/>
                  <a:pt x="897385" y="88877"/>
                  <a:pt x="925345" y="88877"/>
                </a:cubicBezTo>
                <a:close/>
                <a:moveTo>
                  <a:pt x="199827" y="28"/>
                </a:moveTo>
                <a:lnTo>
                  <a:pt x="475181" y="28"/>
                </a:lnTo>
                <a:cubicBezTo>
                  <a:pt x="475636" y="-44"/>
                  <a:pt x="476102" y="19"/>
                  <a:pt x="476520" y="207"/>
                </a:cubicBezTo>
                <a:cubicBezTo>
                  <a:pt x="476938" y="395"/>
                  <a:pt x="477290" y="701"/>
                  <a:pt x="477528" y="1084"/>
                </a:cubicBezTo>
                <a:cubicBezTo>
                  <a:pt x="477767" y="1468"/>
                  <a:pt x="477883" y="1912"/>
                  <a:pt x="477861" y="2360"/>
                </a:cubicBezTo>
                <a:cubicBezTo>
                  <a:pt x="477839" y="2808"/>
                  <a:pt x="477681" y="3240"/>
                  <a:pt x="477406" y="3600"/>
                </a:cubicBezTo>
                <a:lnTo>
                  <a:pt x="283885" y="330080"/>
                </a:lnTo>
                <a:cubicBezTo>
                  <a:pt x="283348" y="331133"/>
                  <a:pt x="282505" y="332010"/>
                  <a:pt x="281459" y="332601"/>
                </a:cubicBezTo>
                <a:cubicBezTo>
                  <a:pt x="280414" y="333192"/>
                  <a:pt x="279214" y="333470"/>
                  <a:pt x="278008" y="333403"/>
                </a:cubicBezTo>
                <a:lnTo>
                  <a:pt x="2713" y="333403"/>
                </a:lnTo>
                <a:cubicBezTo>
                  <a:pt x="2254" y="333481"/>
                  <a:pt x="1783" y="333422"/>
                  <a:pt x="1359" y="333235"/>
                </a:cubicBezTo>
                <a:cubicBezTo>
                  <a:pt x="935" y="333048"/>
                  <a:pt x="579" y="332740"/>
                  <a:pt x="337" y="332353"/>
                </a:cubicBezTo>
                <a:cubicBezTo>
                  <a:pt x="95" y="331966"/>
                  <a:pt x="-21" y="331517"/>
                  <a:pt x="3" y="331064"/>
                </a:cubicBezTo>
                <a:cubicBezTo>
                  <a:pt x="27" y="330611"/>
                  <a:pt x="191" y="330177"/>
                  <a:pt x="473" y="329816"/>
                </a:cubicBezTo>
                <a:lnTo>
                  <a:pt x="193949" y="3351"/>
                </a:lnTo>
                <a:cubicBezTo>
                  <a:pt x="194486" y="2297"/>
                  <a:pt x="195330" y="1420"/>
                  <a:pt x="196375" y="829"/>
                </a:cubicBezTo>
                <a:cubicBezTo>
                  <a:pt x="197420" y="238"/>
                  <a:pt x="198620" y="-41"/>
                  <a:pt x="199827" y="28"/>
                </a:cubicBezTo>
                <a:close/>
              </a:path>
            </a:pathLst>
          </a:custGeom>
          <a:solidFill>
            <a:schemeClr val="accent1"/>
          </a:solidFill>
        </p:spPr>
        <p:txBody>
          <a:bodyPr wrap="square">
            <a:noAutofit/>
          </a:bodyPr>
          <a:lstStyle>
            <a:lvl1pPr marL="126000" indent="0">
              <a:buFontTx/>
              <a:buNone/>
              <a:defRPr sz="800">
                <a:noFill/>
              </a:defRPr>
            </a:lvl1pPr>
          </a:lstStyle>
          <a:p>
            <a:pPr lvl="0"/>
            <a:r>
              <a:rPr lang="en-GB"/>
              <a:t>Set text to 'No Fill'</a:t>
            </a:r>
          </a:p>
        </p:txBody>
      </p:sp>
    </p:spTree>
    <p:extLst>
      <p:ext uri="{BB962C8B-B14F-4D97-AF65-F5344CB8AC3E}">
        <p14:creationId xmlns:p14="http://schemas.microsoft.com/office/powerpoint/2010/main" val="37657548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Breaker A">
    <p:bg>
      <p:bgPr>
        <a:solidFill>
          <a:schemeClr val="accent1"/>
        </a:solidFill>
        <a:effectLst/>
      </p:bgPr>
    </p:bg>
    <p:spTree>
      <p:nvGrpSpPr>
        <p:cNvPr id="1" name=""/>
        <p:cNvGrpSpPr/>
        <p:nvPr/>
      </p:nvGrpSpPr>
      <p:grpSpPr>
        <a:xfrm>
          <a:off x="0" y="0"/>
          <a:ext cx="0" cy="0"/>
          <a:chOff x="0" y="0"/>
          <a:chExt cx="0" cy="0"/>
        </a:xfrm>
      </p:grpSpPr>
      <p:sp>
        <p:nvSpPr>
          <p:cNvPr id="15" name="Background">
            <a:extLst>
              <a:ext uri="{FF2B5EF4-FFF2-40B4-BE49-F238E27FC236}">
                <a16:creationId xmlns:a16="http://schemas.microsoft.com/office/drawing/2014/main" id="{8348FD8B-0210-A3F9-CF11-02E91FF90F60}"/>
              </a:ext>
            </a:extLst>
          </p:cNvPr>
          <p:cNvSpPr/>
          <p:nvPr userDrawn="1"/>
        </p:nvSpPr>
        <p:spPr>
          <a:xfrm>
            <a:off x="0" y="0"/>
            <a:ext cx="121932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a:prstGeom prst="rect">
            <a:avLst/>
          </a:prstGeom>
        </p:spPr>
        <p:txBody>
          <a:bodyPr/>
          <a:lstStyle>
            <a:lvl1pPr>
              <a:defRPr sz="100">
                <a:noFill/>
              </a:defRPr>
            </a:lvl1pPr>
          </a:lstStyle>
          <a:p>
            <a:fld id="{16D587F2-78D9-4CA8-BBDD-E72D9D695276}" type="datetime4">
              <a:rPr lang="en-GB" smtClean="0"/>
              <a:t>20 February 2025</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pic>
        <p:nvPicPr>
          <p:cNvPr id="8" name="Graphic 7">
            <a:extLst>
              <a:ext uri="{FF2B5EF4-FFF2-40B4-BE49-F238E27FC236}">
                <a16:creationId xmlns:a16="http://schemas.microsoft.com/office/drawing/2014/main" id="{13ABF4BD-0A1B-1E0A-9799-DFF8C51EAE6C}"/>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191250" y="0"/>
            <a:ext cx="6000750" cy="6858000"/>
          </a:xfrm>
          <a:prstGeom prst="rect">
            <a:avLst/>
          </a:prstGeom>
        </p:spPr>
      </p:pic>
      <p:sp>
        <p:nvSpPr>
          <p:cNvPr id="2" name="Title 1"/>
          <p:cNvSpPr>
            <a:spLocks noGrp="1"/>
          </p:cNvSpPr>
          <p:nvPr>
            <p:ph type="ctrTitle" hasCustomPrompt="1"/>
          </p:nvPr>
        </p:nvSpPr>
        <p:spPr bwMode="white">
          <a:xfrm>
            <a:off x="269876" y="269875"/>
            <a:ext cx="4749799" cy="1416050"/>
          </a:xfrm>
        </p:spPr>
        <p:txBody>
          <a:bodyPr anchor="t"/>
          <a:lstStyle>
            <a:lvl1pPr algn="l">
              <a:defRPr sz="4400">
                <a:solidFill>
                  <a:schemeClr val="bg1"/>
                </a:solidFill>
              </a:defRPr>
            </a:lvl1pPr>
          </a:lstStyle>
          <a:p>
            <a:r>
              <a:rPr lang="en-GB"/>
              <a:t>Click to add title</a:t>
            </a:r>
          </a:p>
        </p:txBody>
      </p:sp>
      <p:sp>
        <p:nvSpPr>
          <p:cNvPr id="3" name="Subtitle 2"/>
          <p:cNvSpPr>
            <a:spLocks noGrp="1"/>
          </p:cNvSpPr>
          <p:nvPr>
            <p:ph type="subTitle" idx="1" hasCustomPrompt="1"/>
          </p:nvPr>
        </p:nvSpPr>
        <p:spPr bwMode="white">
          <a:xfrm>
            <a:off x="269876" y="1926431"/>
            <a:ext cx="4749799" cy="550069"/>
          </a:xfrm>
        </p:spPr>
        <p:txBody>
          <a:bodyPr/>
          <a:lstStyle>
            <a:lvl1pPr marL="0" indent="0" algn="l">
              <a:spcBef>
                <a:spcPts val="0"/>
              </a:spcBef>
              <a:buFont typeface="DFDS Sans" panose="00000500000000000000" pitchFamily="2" charset="0"/>
              <a:buChar char="​"/>
              <a:defRPr sz="1600">
                <a:solidFill>
                  <a:schemeClr val="bg1"/>
                </a:solidFill>
              </a:defRPr>
            </a:lvl1pPr>
            <a:lvl2pPr marL="0" indent="0" algn="l">
              <a:spcAft>
                <a:spcPts val="600"/>
              </a:spcAft>
              <a:buFont typeface="DFDS Sans" panose="00000500000000000000" pitchFamily="2" charset="0"/>
              <a:buChar char="​"/>
              <a:defRPr sz="1600" b="0">
                <a:solidFill>
                  <a:schemeClr val="bg1"/>
                </a:solidFill>
              </a:defRPr>
            </a:lvl2pPr>
            <a:lvl3pPr marL="0" indent="0" algn="l">
              <a:spcAft>
                <a:spcPts val="600"/>
              </a:spcAft>
              <a:buFont typeface="DFDS Sans" panose="00000500000000000000" pitchFamily="2" charset="0"/>
              <a:buChar char="​"/>
              <a:defRPr sz="1600" b="0">
                <a:solidFill>
                  <a:schemeClr val="bg1"/>
                </a:solidFill>
              </a:defRPr>
            </a:lvl3pPr>
            <a:lvl4pPr marL="0" indent="0" algn="l">
              <a:spcAft>
                <a:spcPts val="600"/>
              </a:spcAft>
              <a:buFont typeface="DFDS Sans" panose="00000500000000000000" pitchFamily="2" charset="0"/>
              <a:buChar char="​"/>
              <a:defRPr sz="1600" b="0">
                <a:solidFill>
                  <a:schemeClr val="bg1"/>
                </a:solidFill>
              </a:defRPr>
            </a:lvl4pPr>
            <a:lvl5pPr marL="0" indent="0" algn="l">
              <a:spcAft>
                <a:spcPts val="600"/>
              </a:spcAft>
              <a:buFont typeface="DFDS Sans" panose="00000500000000000000" pitchFamily="2" charset="0"/>
              <a:buChar char="​"/>
              <a:defRPr sz="1600" b="0">
                <a:solidFill>
                  <a:schemeClr val="bg1"/>
                </a:solidFill>
              </a:defRPr>
            </a:lvl5pPr>
            <a:lvl6pPr marL="0" indent="0" algn="l">
              <a:spcAft>
                <a:spcPts val="600"/>
              </a:spcAft>
              <a:buFont typeface="DFDS Sans" panose="00000500000000000000" pitchFamily="2" charset="0"/>
              <a:buChar char="​"/>
              <a:defRPr sz="1600" b="0">
                <a:solidFill>
                  <a:schemeClr val="bg1"/>
                </a:solidFill>
              </a:defRPr>
            </a:lvl6pPr>
            <a:lvl7pPr marL="0" indent="0" algn="l">
              <a:spcAft>
                <a:spcPts val="600"/>
              </a:spcAft>
              <a:buFont typeface="DFDS Sans" panose="00000500000000000000" pitchFamily="2" charset="0"/>
              <a:buChar char="​"/>
              <a:defRPr sz="1600" b="0">
                <a:solidFill>
                  <a:schemeClr val="bg1"/>
                </a:solidFill>
              </a:defRPr>
            </a:lvl7pPr>
            <a:lvl8pPr marL="0" indent="0" algn="l">
              <a:spcAft>
                <a:spcPts val="600"/>
              </a:spcAft>
              <a:buFont typeface="DFDS Sans" panose="00000500000000000000" pitchFamily="2" charset="0"/>
              <a:buChar char="​"/>
              <a:defRPr sz="1600" b="0">
                <a:solidFill>
                  <a:schemeClr val="bg1"/>
                </a:solidFill>
              </a:defRPr>
            </a:lvl8pPr>
            <a:lvl9pPr marL="0" indent="0" algn="l">
              <a:spcAft>
                <a:spcPts val="600"/>
              </a:spcAft>
              <a:buFont typeface="DFDS Sans" panose="00000500000000000000" pitchFamily="2" charset="0"/>
              <a:buChar char="​"/>
              <a:defRPr sz="1600" b="0">
                <a:solidFill>
                  <a:schemeClr val="bg1"/>
                </a:solidFill>
              </a:defRPr>
            </a:lvl9pPr>
          </a:lstStyle>
          <a:p>
            <a:r>
              <a:rPr lang="en-GB"/>
              <a:t>Click to add subtitle</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 level</a:t>
            </a:r>
          </a:p>
          <a:p>
            <a:pPr lvl="6"/>
            <a:r>
              <a:rPr lang="en-GB" noProof="0"/>
              <a:t>7 level</a:t>
            </a:r>
          </a:p>
          <a:p>
            <a:pPr lvl="7"/>
            <a:r>
              <a:rPr lang="en-GB" noProof="0"/>
              <a:t>8 level</a:t>
            </a:r>
          </a:p>
          <a:p>
            <a:pPr lvl="8"/>
            <a:r>
              <a:rPr lang="en-GB" noProof="0"/>
              <a:t>9 level</a:t>
            </a:r>
            <a:endParaRPr lang="en-GB"/>
          </a:p>
        </p:txBody>
      </p:sp>
      <p:pic>
        <p:nvPicPr>
          <p:cNvPr id="14" name="Graphic 13">
            <a:extLst>
              <a:ext uri="{FF2B5EF4-FFF2-40B4-BE49-F238E27FC236}">
                <a16:creationId xmlns:a16="http://schemas.microsoft.com/office/drawing/2014/main" id="{D51F788F-9022-53F0-2482-81902706E006}"/>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929938" y="6253163"/>
            <a:ext cx="1000125" cy="333375"/>
          </a:xfrm>
          <a:prstGeom prst="rect">
            <a:avLst/>
          </a:prstGeom>
        </p:spPr>
      </p:pic>
    </p:spTree>
    <p:extLst>
      <p:ext uri="{BB962C8B-B14F-4D97-AF65-F5344CB8AC3E}">
        <p14:creationId xmlns:p14="http://schemas.microsoft.com/office/powerpoint/2010/main" val="252449434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440F382-4100-B3D2-E395-D55648258C0F}"/>
              </a:ext>
            </a:extLst>
          </p:cNvPr>
          <p:cNvGraphicFramePr>
            <a:graphicFrameLocks noChangeAspect="1"/>
          </p:cNvGraphicFramePr>
          <p:nvPr userDrawn="1">
            <p:custDataLst>
              <p:tags r:id="rId42"/>
            </p:custDataLst>
            <p:extLst>
              <p:ext uri="{D42A27DB-BD31-4B8C-83A1-F6EECF244321}">
                <p14:modId xmlns:p14="http://schemas.microsoft.com/office/powerpoint/2010/main" val="2797358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3" imgW="277" imgH="277" progId="TCLayout.ActiveDocument.1">
                  <p:embed/>
                </p:oleObj>
              </mc:Choice>
              <mc:Fallback>
                <p:oleObj name="think-cell Slide" r:id="rId43" imgW="277" imgH="277" progId="TCLayout.ActiveDocument.1">
                  <p:embed/>
                  <p:pic>
                    <p:nvPicPr>
                      <p:cNvPr id="5" name="think-cell data - do not delete" hidden="1">
                        <a:extLst>
                          <a:ext uri="{FF2B5EF4-FFF2-40B4-BE49-F238E27FC236}">
                            <a16:creationId xmlns:a16="http://schemas.microsoft.com/office/drawing/2014/main" id="{8440F382-4100-B3D2-E395-D55648258C0F}"/>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266700" y="269875"/>
            <a:ext cx="8696325" cy="930275"/>
          </a:xfrm>
          <a:prstGeom prst="rect">
            <a:avLst/>
          </a:prstGeom>
        </p:spPr>
        <p:txBody>
          <a:bodyPr vert="horz" lIns="0" tIns="0" rIns="0" bIns="0" rtlCol="0" anchor="t" anchorCtr="0">
            <a:noAutofit/>
          </a:bodyPr>
          <a:lstStyle/>
          <a:p>
            <a:r>
              <a:rPr lang="en-GB"/>
              <a:t>Click to add title</a:t>
            </a:r>
          </a:p>
        </p:txBody>
      </p:sp>
      <p:sp>
        <p:nvSpPr>
          <p:cNvPr id="3" name="Text Placeholder 2"/>
          <p:cNvSpPr>
            <a:spLocks noGrp="1"/>
          </p:cNvSpPr>
          <p:nvPr>
            <p:ph type="body" idx="1"/>
          </p:nvPr>
        </p:nvSpPr>
        <p:spPr>
          <a:xfrm>
            <a:off x="269875" y="2778826"/>
            <a:ext cx="11652249" cy="3361624"/>
          </a:xfrm>
          <a:prstGeom prst="rect">
            <a:avLst/>
          </a:prstGeom>
        </p:spPr>
        <p:txBody>
          <a:bodyPr vert="horz" lIns="0" tIns="0" rIns="0" bIns="0" rtlCol="0">
            <a:noAutofit/>
          </a:bodyPr>
          <a:lstStyle/>
          <a:p>
            <a:pPr lvl="0"/>
            <a:r>
              <a:rPr lang="en-GB" noProof="0"/>
              <a:t>Level 1                                                                                                                                                                                                                                 Press ENTER then TAB to view next text style                                                                                                                                                             Press SHIFT+TAB to view previous text style</a:t>
            </a:r>
          </a:p>
          <a:p>
            <a:pPr lvl="1"/>
            <a:r>
              <a:rPr lang="en-GB" noProof="0"/>
              <a:t>Level 2</a:t>
            </a:r>
          </a:p>
          <a:p>
            <a:pPr lvl="2"/>
            <a:r>
              <a:rPr lang="en-GB" noProof="0"/>
              <a:t>Level 3</a:t>
            </a:r>
          </a:p>
          <a:p>
            <a:pPr lvl="3"/>
            <a:r>
              <a:rPr lang="en-GB" noProof="0"/>
              <a:t>Level 4, Header</a:t>
            </a:r>
          </a:p>
          <a:p>
            <a:pPr lvl="4"/>
            <a:r>
              <a:rPr lang="en-GB" noProof="0"/>
              <a:t>Level 5, Body</a:t>
            </a:r>
          </a:p>
          <a:p>
            <a:pPr lvl="5"/>
            <a:r>
              <a:rPr lang="en-GB" noProof="0"/>
              <a:t>Level 6</a:t>
            </a:r>
          </a:p>
          <a:p>
            <a:pPr lvl="6"/>
            <a:r>
              <a:rPr lang="en-GB" noProof="0"/>
              <a:t>Level 7, Small Header</a:t>
            </a:r>
          </a:p>
          <a:p>
            <a:pPr lvl="7"/>
            <a:r>
              <a:rPr lang="en-GB" noProof="0"/>
              <a:t>Level 8, Small Body</a:t>
            </a:r>
          </a:p>
          <a:p>
            <a:pPr lvl="8"/>
            <a:r>
              <a:rPr lang="en-GB" noProof="0"/>
              <a:t>Level 9, Infographic</a:t>
            </a:r>
          </a:p>
        </p:txBody>
      </p:sp>
      <p:sp>
        <p:nvSpPr>
          <p:cNvPr id="8" name="Footer Placeholder 7">
            <a:extLst>
              <a:ext uri="{FF2B5EF4-FFF2-40B4-BE49-F238E27FC236}">
                <a16:creationId xmlns:a16="http://schemas.microsoft.com/office/drawing/2014/main" id="{69460BDC-2796-43E8-A075-B3BFBC3B28E3}"/>
              </a:ext>
            </a:extLst>
          </p:cNvPr>
          <p:cNvSpPr>
            <a:spLocks noGrp="1"/>
          </p:cNvSpPr>
          <p:nvPr>
            <p:ph type="ftr" sz="quarter" idx="3"/>
          </p:nvPr>
        </p:nvSpPr>
        <p:spPr>
          <a:xfrm>
            <a:off x="1750218" y="6431280"/>
            <a:ext cx="5241131" cy="180000"/>
          </a:xfrm>
          <a:prstGeom prst="rect">
            <a:avLst/>
          </a:prstGeom>
        </p:spPr>
        <p:txBody>
          <a:bodyPr vert="horz" lIns="0" tIns="126000" rIns="0" bIns="0" rtlCol="0" anchor="b" anchorCtr="0"/>
          <a:lstStyle>
            <a:lvl1pPr algn="l">
              <a:defRPr sz="800">
                <a:solidFill>
                  <a:schemeClr val="accent1"/>
                </a:solidFill>
              </a:defRPr>
            </a:lvl1pPr>
          </a:lstStyle>
          <a:p>
            <a:endParaRPr lang="en-GB"/>
          </a:p>
        </p:txBody>
      </p:sp>
      <p:sp>
        <p:nvSpPr>
          <p:cNvPr id="9" name="Slide Number Placeholder 8">
            <a:extLst>
              <a:ext uri="{FF2B5EF4-FFF2-40B4-BE49-F238E27FC236}">
                <a16:creationId xmlns:a16="http://schemas.microsoft.com/office/drawing/2014/main" id="{5942516E-ED5A-4F68-B285-E8D0CC42F948}"/>
              </a:ext>
            </a:extLst>
          </p:cNvPr>
          <p:cNvSpPr>
            <a:spLocks noGrp="1"/>
          </p:cNvSpPr>
          <p:nvPr>
            <p:ph type="sldNum" sz="quarter" idx="4"/>
          </p:nvPr>
        </p:nvSpPr>
        <p:spPr>
          <a:xfrm>
            <a:off x="269875" y="6431279"/>
            <a:ext cx="269875" cy="180000"/>
          </a:xfrm>
          <a:prstGeom prst="rect">
            <a:avLst/>
          </a:prstGeom>
        </p:spPr>
        <p:txBody>
          <a:bodyPr vert="horz" lIns="0" tIns="126000" rIns="0" bIns="0" rtlCol="0" anchor="b" anchorCtr="0"/>
          <a:lstStyle>
            <a:lvl1pPr algn="l">
              <a:defRPr sz="800">
                <a:solidFill>
                  <a:schemeClr val="accent1"/>
                </a:solidFill>
              </a:defRPr>
            </a:lvl1pPr>
          </a:lstStyle>
          <a:p>
            <a:fld id="{23AA811B-2EBD-4900-905E-5BE206449611}" type="slidenum">
              <a:rPr lang="en-GB" smtClean="0"/>
              <a:pPr/>
              <a:t>‹#›</a:t>
            </a:fld>
            <a:endParaRPr lang="en-GB"/>
          </a:p>
        </p:txBody>
      </p:sp>
      <p:sp>
        <p:nvSpPr>
          <p:cNvPr id="17" name="Footer logo">
            <a:extLst>
              <a:ext uri="{FF2B5EF4-FFF2-40B4-BE49-F238E27FC236}">
                <a16:creationId xmlns:a16="http://schemas.microsoft.com/office/drawing/2014/main" id="{E4A93C7D-A9D5-F7F4-6C37-CDC7C6820B3D}"/>
              </a:ext>
            </a:extLst>
          </p:cNvPr>
          <p:cNvSpPr>
            <a:spLocks noChangeAspect="1"/>
          </p:cNvSpPr>
          <p:nvPr/>
        </p:nvSpPr>
        <p:spPr>
          <a:xfrm>
            <a:off x="11634124" y="6504694"/>
            <a:ext cx="288000" cy="81844"/>
          </a:xfrm>
          <a:custGeom>
            <a:avLst/>
            <a:gdLst>
              <a:gd name="connsiteX0" fmla="*/ 109963 w 193596"/>
              <a:gd name="connsiteY0" fmla="*/ 11125 h 55016"/>
              <a:gd name="connsiteX1" fmla="*/ 109963 w 193596"/>
              <a:gd name="connsiteY1" fmla="*/ 43891 h 55016"/>
              <a:gd name="connsiteX2" fmla="*/ 118345 w 193596"/>
              <a:gd name="connsiteY2" fmla="*/ 43891 h 55016"/>
              <a:gd name="connsiteX3" fmla="*/ 133356 w 193596"/>
              <a:gd name="connsiteY3" fmla="*/ 27356 h 55016"/>
              <a:gd name="connsiteX4" fmla="*/ 118421 w 193596"/>
              <a:gd name="connsiteY4" fmla="*/ 11125 h 55016"/>
              <a:gd name="connsiteX5" fmla="*/ 11811 w 193596"/>
              <a:gd name="connsiteY5" fmla="*/ 11125 h 55016"/>
              <a:gd name="connsiteX6" fmla="*/ 11811 w 193596"/>
              <a:gd name="connsiteY6" fmla="*/ 43891 h 55016"/>
              <a:gd name="connsiteX7" fmla="*/ 20193 w 193596"/>
              <a:gd name="connsiteY7" fmla="*/ 43891 h 55016"/>
              <a:gd name="connsiteX8" fmla="*/ 35204 w 193596"/>
              <a:gd name="connsiteY8" fmla="*/ 27356 h 55016"/>
              <a:gd name="connsiteX9" fmla="*/ 20269 w 193596"/>
              <a:gd name="connsiteY9" fmla="*/ 11125 h 55016"/>
              <a:gd name="connsiteX10" fmla="*/ 98152 w 193596"/>
              <a:gd name="connsiteY10" fmla="*/ 838 h 55016"/>
              <a:gd name="connsiteX11" fmla="*/ 119564 w 193596"/>
              <a:gd name="connsiteY11" fmla="*/ 838 h 55016"/>
              <a:gd name="connsiteX12" fmla="*/ 145396 w 193596"/>
              <a:gd name="connsiteY12" fmla="*/ 27356 h 55016"/>
              <a:gd name="connsiteX13" fmla="*/ 119564 w 193596"/>
              <a:gd name="connsiteY13" fmla="*/ 54178 h 55016"/>
              <a:gd name="connsiteX14" fmla="*/ 98152 w 193596"/>
              <a:gd name="connsiteY14" fmla="*/ 54178 h 55016"/>
              <a:gd name="connsiteX15" fmla="*/ 55438 w 193596"/>
              <a:gd name="connsiteY15" fmla="*/ 838 h 55016"/>
              <a:gd name="connsiteX16" fmla="*/ 89728 w 193596"/>
              <a:gd name="connsiteY16" fmla="*/ 838 h 55016"/>
              <a:gd name="connsiteX17" fmla="*/ 89728 w 193596"/>
              <a:gd name="connsiteY17" fmla="*/ 11049 h 55016"/>
              <a:gd name="connsiteX18" fmla="*/ 67249 w 193596"/>
              <a:gd name="connsiteY18" fmla="*/ 11049 h 55016"/>
              <a:gd name="connsiteX19" fmla="*/ 67249 w 193596"/>
              <a:gd name="connsiteY19" fmla="*/ 23774 h 55016"/>
              <a:gd name="connsiteX20" fmla="*/ 89042 w 193596"/>
              <a:gd name="connsiteY20" fmla="*/ 23774 h 55016"/>
              <a:gd name="connsiteX21" fmla="*/ 89042 w 193596"/>
              <a:gd name="connsiteY21" fmla="*/ 33909 h 55016"/>
              <a:gd name="connsiteX22" fmla="*/ 67249 w 193596"/>
              <a:gd name="connsiteY22" fmla="*/ 33909 h 55016"/>
              <a:gd name="connsiteX23" fmla="*/ 67249 w 193596"/>
              <a:gd name="connsiteY23" fmla="*/ 54178 h 55016"/>
              <a:gd name="connsiteX24" fmla="*/ 55438 w 193596"/>
              <a:gd name="connsiteY24" fmla="*/ 54178 h 55016"/>
              <a:gd name="connsiteX25" fmla="*/ 0 w 193596"/>
              <a:gd name="connsiteY25" fmla="*/ 838 h 55016"/>
              <a:gd name="connsiteX26" fmla="*/ 21412 w 193596"/>
              <a:gd name="connsiteY26" fmla="*/ 838 h 55016"/>
              <a:gd name="connsiteX27" fmla="*/ 47244 w 193596"/>
              <a:gd name="connsiteY27" fmla="*/ 27356 h 55016"/>
              <a:gd name="connsiteX28" fmla="*/ 21412 w 193596"/>
              <a:gd name="connsiteY28" fmla="*/ 54178 h 55016"/>
              <a:gd name="connsiteX29" fmla="*/ 0 w 193596"/>
              <a:gd name="connsiteY29" fmla="*/ 54178 h 55016"/>
              <a:gd name="connsiteX30" fmla="*/ 172031 w 193596"/>
              <a:gd name="connsiteY30" fmla="*/ 0 h 55016"/>
              <a:gd name="connsiteX31" fmla="*/ 192605 w 193596"/>
              <a:gd name="connsiteY31" fmla="*/ 16459 h 55016"/>
              <a:gd name="connsiteX32" fmla="*/ 180642 w 193596"/>
              <a:gd name="connsiteY32" fmla="*/ 16459 h 55016"/>
              <a:gd name="connsiteX33" fmla="*/ 172031 w 193596"/>
              <a:gd name="connsiteY33" fmla="*/ 9982 h 55016"/>
              <a:gd name="connsiteX34" fmla="*/ 163725 w 193596"/>
              <a:gd name="connsiteY34" fmla="*/ 15545 h 55016"/>
              <a:gd name="connsiteX35" fmla="*/ 170202 w 193596"/>
              <a:gd name="connsiteY35" fmla="*/ 20803 h 55016"/>
              <a:gd name="connsiteX36" fmla="*/ 178127 w 193596"/>
              <a:gd name="connsiteY36" fmla="*/ 22327 h 55016"/>
              <a:gd name="connsiteX37" fmla="*/ 193596 w 193596"/>
              <a:gd name="connsiteY37" fmla="*/ 38176 h 55016"/>
              <a:gd name="connsiteX38" fmla="*/ 172793 w 193596"/>
              <a:gd name="connsiteY38" fmla="*/ 55016 h 55016"/>
              <a:gd name="connsiteX39" fmla="*/ 151000 w 193596"/>
              <a:gd name="connsiteY39" fmla="*/ 37871 h 55016"/>
              <a:gd name="connsiteX40" fmla="*/ 162963 w 193596"/>
              <a:gd name="connsiteY40" fmla="*/ 37871 h 55016"/>
              <a:gd name="connsiteX41" fmla="*/ 172717 w 193596"/>
              <a:gd name="connsiteY41" fmla="*/ 45034 h 55016"/>
              <a:gd name="connsiteX42" fmla="*/ 181632 w 193596"/>
              <a:gd name="connsiteY42" fmla="*/ 38862 h 55016"/>
              <a:gd name="connsiteX43" fmla="*/ 174774 w 193596"/>
              <a:gd name="connsiteY43" fmla="*/ 32918 h 55016"/>
              <a:gd name="connsiteX44" fmla="*/ 167078 w 193596"/>
              <a:gd name="connsiteY44" fmla="*/ 31471 h 55016"/>
              <a:gd name="connsiteX45" fmla="*/ 151686 w 193596"/>
              <a:gd name="connsiteY45" fmla="*/ 16078 h 55016"/>
              <a:gd name="connsiteX46" fmla="*/ 172031 w 193596"/>
              <a:gd name="connsiteY46" fmla="*/ 0 h 55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3596" h="55016">
                <a:moveTo>
                  <a:pt x="109963" y="11125"/>
                </a:moveTo>
                <a:lnTo>
                  <a:pt x="109963" y="43891"/>
                </a:lnTo>
                <a:lnTo>
                  <a:pt x="118345" y="43891"/>
                </a:lnTo>
                <a:cubicBezTo>
                  <a:pt x="126498" y="43891"/>
                  <a:pt x="133356" y="38786"/>
                  <a:pt x="133356" y="27356"/>
                </a:cubicBezTo>
                <a:cubicBezTo>
                  <a:pt x="133356" y="16611"/>
                  <a:pt x="127032" y="11125"/>
                  <a:pt x="118421" y="11125"/>
                </a:cubicBezTo>
                <a:close/>
                <a:moveTo>
                  <a:pt x="11811" y="11125"/>
                </a:moveTo>
                <a:lnTo>
                  <a:pt x="11811" y="43891"/>
                </a:lnTo>
                <a:lnTo>
                  <a:pt x="20193" y="43891"/>
                </a:lnTo>
                <a:cubicBezTo>
                  <a:pt x="28346" y="43891"/>
                  <a:pt x="35204" y="38786"/>
                  <a:pt x="35204" y="27356"/>
                </a:cubicBezTo>
                <a:cubicBezTo>
                  <a:pt x="35204" y="16611"/>
                  <a:pt x="28880" y="11125"/>
                  <a:pt x="20269" y="11125"/>
                </a:cubicBezTo>
                <a:close/>
                <a:moveTo>
                  <a:pt x="98152" y="838"/>
                </a:moveTo>
                <a:lnTo>
                  <a:pt x="119564" y="838"/>
                </a:lnTo>
                <a:cubicBezTo>
                  <a:pt x="135338" y="838"/>
                  <a:pt x="145396" y="11582"/>
                  <a:pt x="145396" y="27356"/>
                </a:cubicBezTo>
                <a:cubicBezTo>
                  <a:pt x="145396" y="43434"/>
                  <a:pt x="135338" y="54178"/>
                  <a:pt x="119564" y="54178"/>
                </a:cubicBezTo>
                <a:lnTo>
                  <a:pt x="98152" y="54178"/>
                </a:lnTo>
                <a:close/>
                <a:moveTo>
                  <a:pt x="55438" y="838"/>
                </a:moveTo>
                <a:lnTo>
                  <a:pt x="89728" y="838"/>
                </a:lnTo>
                <a:lnTo>
                  <a:pt x="89728" y="11049"/>
                </a:lnTo>
                <a:lnTo>
                  <a:pt x="67249" y="11049"/>
                </a:lnTo>
                <a:lnTo>
                  <a:pt x="67249" y="23774"/>
                </a:lnTo>
                <a:lnTo>
                  <a:pt x="89042" y="23774"/>
                </a:lnTo>
                <a:lnTo>
                  <a:pt x="89042" y="33909"/>
                </a:lnTo>
                <a:lnTo>
                  <a:pt x="67249" y="33909"/>
                </a:lnTo>
                <a:lnTo>
                  <a:pt x="67249" y="54178"/>
                </a:lnTo>
                <a:lnTo>
                  <a:pt x="55438" y="54178"/>
                </a:lnTo>
                <a:close/>
                <a:moveTo>
                  <a:pt x="0" y="838"/>
                </a:moveTo>
                <a:lnTo>
                  <a:pt x="21412" y="838"/>
                </a:lnTo>
                <a:cubicBezTo>
                  <a:pt x="37186" y="838"/>
                  <a:pt x="47244" y="11582"/>
                  <a:pt x="47244" y="27356"/>
                </a:cubicBezTo>
                <a:cubicBezTo>
                  <a:pt x="47244" y="43434"/>
                  <a:pt x="37186" y="54178"/>
                  <a:pt x="21412" y="54178"/>
                </a:cubicBezTo>
                <a:lnTo>
                  <a:pt x="0" y="54178"/>
                </a:lnTo>
                <a:close/>
                <a:moveTo>
                  <a:pt x="172031" y="0"/>
                </a:moveTo>
                <a:cubicBezTo>
                  <a:pt x="183614" y="0"/>
                  <a:pt x="191538" y="6629"/>
                  <a:pt x="192605" y="16459"/>
                </a:cubicBezTo>
                <a:lnTo>
                  <a:pt x="180642" y="16459"/>
                </a:lnTo>
                <a:cubicBezTo>
                  <a:pt x="179727" y="12421"/>
                  <a:pt x="177213" y="9982"/>
                  <a:pt x="172031" y="9982"/>
                </a:cubicBezTo>
                <a:cubicBezTo>
                  <a:pt x="167764" y="9982"/>
                  <a:pt x="163725" y="11659"/>
                  <a:pt x="163725" y="15545"/>
                </a:cubicBezTo>
                <a:cubicBezTo>
                  <a:pt x="163725" y="18517"/>
                  <a:pt x="166164" y="19964"/>
                  <a:pt x="170202" y="20803"/>
                </a:cubicBezTo>
                <a:lnTo>
                  <a:pt x="178127" y="22327"/>
                </a:lnTo>
                <a:cubicBezTo>
                  <a:pt x="187805" y="24155"/>
                  <a:pt x="193596" y="29489"/>
                  <a:pt x="193596" y="38176"/>
                </a:cubicBezTo>
                <a:cubicBezTo>
                  <a:pt x="193596" y="49454"/>
                  <a:pt x="183842" y="55016"/>
                  <a:pt x="172793" y="55016"/>
                </a:cubicBezTo>
                <a:cubicBezTo>
                  <a:pt x="159839" y="55016"/>
                  <a:pt x="152219" y="47701"/>
                  <a:pt x="151000" y="37871"/>
                </a:cubicBezTo>
                <a:lnTo>
                  <a:pt x="162963" y="37871"/>
                </a:lnTo>
                <a:cubicBezTo>
                  <a:pt x="163649" y="42367"/>
                  <a:pt x="167383" y="45034"/>
                  <a:pt x="172717" y="45034"/>
                </a:cubicBezTo>
                <a:cubicBezTo>
                  <a:pt x="177365" y="45034"/>
                  <a:pt x="181632" y="43053"/>
                  <a:pt x="181632" y="38862"/>
                </a:cubicBezTo>
                <a:cubicBezTo>
                  <a:pt x="181632" y="35738"/>
                  <a:pt x="179194" y="33757"/>
                  <a:pt x="174774" y="32918"/>
                </a:cubicBezTo>
                <a:lnTo>
                  <a:pt x="167078" y="31471"/>
                </a:lnTo>
                <a:cubicBezTo>
                  <a:pt x="158010" y="29947"/>
                  <a:pt x="151686" y="24841"/>
                  <a:pt x="151686" y="16078"/>
                </a:cubicBezTo>
                <a:cubicBezTo>
                  <a:pt x="151686" y="5105"/>
                  <a:pt x="161820" y="0"/>
                  <a:pt x="172031" y="0"/>
                </a:cubicBezTo>
                <a:close/>
              </a:path>
            </a:pathLst>
          </a:custGeom>
          <a:solidFill>
            <a:srgbClr val="002B45"/>
          </a:solidFill>
          <a:ln w="9525" cap="flat">
            <a:noFill/>
            <a:prstDash val="solid"/>
            <a:miter/>
          </a:ln>
        </p:spPr>
        <p:txBody>
          <a:bodyPr rtlCol="0" anchor="ctr"/>
          <a:lstStyle/>
          <a:p>
            <a:endParaRPr lang="en-GB"/>
          </a:p>
        </p:txBody>
      </p:sp>
      <p:sp>
        <p:nvSpPr>
          <p:cNvPr id="18" name="Date Placeholder 17">
            <a:extLst>
              <a:ext uri="{FF2B5EF4-FFF2-40B4-BE49-F238E27FC236}">
                <a16:creationId xmlns:a16="http://schemas.microsoft.com/office/drawing/2014/main" id="{6E1F76A4-CF8D-8356-F247-93F6E3219DD8}"/>
              </a:ext>
            </a:extLst>
          </p:cNvPr>
          <p:cNvSpPr>
            <a:spLocks noGrp="1"/>
          </p:cNvSpPr>
          <p:nvPr>
            <p:ph type="dt" sz="half" idx="2"/>
          </p:nvPr>
        </p:nvSpPr>
        <p:spPr>
          <a:xfrm>
            <a:off x="8963025" y="6442538"/>
            <a:ext cx="1757362" cy="144000"/>
          </a:xfrm>
          <a:prstGeom prst="rect">
            <a:avLst/>
          </a:prstGeom>
        </p:spPr>
        <p:txBody>
          <a:bodyPr vert="horz" lIns="0" tIns="0" rIns="0" bIns="0" rtlCol="0" anchor="ctr"/>
          <a:lstStyle>
            <a:lvl1pPr algn="l">
              <a:defRPr sz="1000">
                <a:solidFill>
                  <a:schemeClr val="tx2"/>
                </a:solidFill>
              </a:defRPr>
            </a:lvl1pPr>
          </a:lstStyle>
          <a:p>
            <a:fld id="{10263D6F-1D82-4E8C-9969-91EDFF089F84}" type="datetime4">
              <a:rPr lang="en-GB" smtClean="0"/>
              <a:t>20 February 2025</a:t>
            </a:fld>
            <a:endParaRPr lang="en-GB"/>
          </a:p>
        </p:txBody>
      </p:sp>
      <p:sp>
        <p:nvSpPr>
          <p:cNvPr id="2" name="DFDS SANS - EMBED">
            <a:extLst>
              <a:ext uri="{FF2B5EF4-FFF2-40B4-BE49-F238E27FC236}">
                <a16:creationId xmlns:a16="http://schemas.microsoft.com/office/drawing/2014/main" id="{90F4E23A-CE05-44C4-1941-E2DD1BFB6B15}"/>
              </a:ext>
            </a:extLst>
          </p:cNvPr>
          <p:cNvSpPr txBox="1"/>
          <p:nvPr userDrawn="1"/>
        </p:nvSpPr>
        <p:spPr>
          <a:xfrm>
            <a:off x="0" y="6858000"/>
            <a:ext cx="0" cy="0"/>
          </a:xfrm>
          <a:prstGeom prst="rect">
            <a:avLst/>
          </a:prstGeom>
          <a:noFill/>
        </p:spPr>
        <p:txBody>
          <a:bodyPr wrap="square" lIns="0" tIns="0" rIns="0" bIns="0" rtlCol="0">
            <a:spAutoFit/>
          </a:bodyPr>
          <a:lstStyle/>
          <a:p>
            <a:pPr algn="l"/>
            <a:r>
              <a:rPr lang="en-US" sz="100">
                <a:noFill/>
              </a:rPr>
              <a:t>DFDS SA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 b="1">
                <a:noFill/>
              </a:rPr>
              <a:t>DFDS SANS  BOL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 i="1">
                <a:noFill/>
              </a:rPr>
              <a:t>DFDS SANS ITALIC</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 b="1" i="1">
                <a:noFill/>
              </a:rPr>
              <a:t>DFDS SANS BOLDITALIC</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
              <a:no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
              <a:noFill/>
            </a:endParaRPr>
          </a:p>
          <a:p>
            <a:pPr algn="l"/>
            <a:endParaRPr lang="en-US" sz="100">
              <a:noFill/>
            </a:endParaRPr>
          </a:p>
          <a:p>
            <a:pPr algn="l"/>
            <a:endParaRPr lang="en-US" sz="100" err="1">
              <a:noFill/>
            </a:endParaRPr>
          </a:p>
        </p:txBody>
      </p:sp>
      <p:sp>
        <p:nvSpPr>
          <p:cNvPr id="6" name="DFDS SANS MEDIUM - EMBED">
            <a:extLst>
              <a:ext uri="{FF2B5EF4-FFF2-40B4-BE49-F238E27FC236}">
                <a16:creationId xmlns:a16="http://schemas.microsoft.com/office/drawing/2014/main" id="{E8B95DE5-EEC7-F238-4B4B-AD9E002FF7C5}"/>
              </a:ext>
            </a:extLst>
          </p:cNvPr>
          <p:cNvSpPr txBox="1"/>
          <p:nvPr userDrawn="1"/>
        </p:nvSpPr>
        <p:spPr>
          <a:xfrm>
            <a:off x="0" y="6858000"/>
            <a:ext cx="0" cy="0"/>
          </a:xfrm>
          <a:prstGeom prst="rect">
            <a:avLst/>
          </a:prstGeom>
          <a:noFill/>
        </p:spPr>
        <p:txBody>
          <a:bodyPr wrap="square" lIns="0" tIns="0" rIns="0" bIns="0" rtlCol="0">
            <a:spAutoFit/>
          </a:bodyPr>
          <a:lstStyle/>
          <a:p>
            <a:pPr algn="l"/>
            <a:r>
              <a:rPr lang="en-US" sz="100">
                <a:noFill/>
                <a:latin typeface="+mj-lt"/>
              </a:rPr>
              <a:t>DFDS SANS MEDIUM</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 b="1">
                <a:noFill/>
                <a:latin typeface="+mj-lt"/>
              </a:rPr>
              <a:t>DFDS SANS  MEDIUM BOL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 i="1">
                <a:noFill/>
                <a:latin typeface="+mj-lt"/>
              </a:rPr>
              <a:t>DFDS SANS  MEDIUM ITALIC</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 b="1" i="1">
                <a:noFill/>
                <a:latin typeface="+mj-lt"/>
              </a:rPr>
              <a:t>DFDS SANS  MEDIUM BOLDITALIC</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
              <a:noFill/>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
              <a:noFill/>
              <a:latin typeface="+mj-lt"/>
            </a:endParaRPr>
          </a:p>
          <a:p>
            <a:pPr algn="l"/>
            <a:endParaRPr lang="en-US" sz="100">
              <a:noFill/>
              <a:latin typeface="+mj-lt"/>
            </a:endParaRPr>
          </a:p>
          <a:p>
            <a:pPr algn="l"/>
            <a:endParaRPr lang="en-US" sz="100" err="1">
              <a:noFill/>
              <a:latin typeface="+mj-lt"/>
            </a:endParaRPr>
          </a:p>
        </p:txBody>
      </p:sp>
    </p:spTree>
    <p:extLst>
      <p:ext uri="{BB962C8B-B14F-4D97-AF65-F5344CB8AC3E}">
        <p14:creationId xmlns:p14="http://schemas.microsoft.com/office/powerpoint/2010/main" val="180999990"/>
      </p:ext>
    </p:extLst>
  </p:cSld>
  <p:clrMap bg1="lt1" tx1="dk1" bg2="lt2" tx2="dk2" accent1="accent1" accent2="accent2" accent3="accent3" accent4="accent4" accent5="accent5" accent6="accent6" hlink="hlink" folHlink="folHlink"/>
  <p:sldLayoutIdLst>
    <p:sldLayoutId id="2147483729" r:id="rId1"/>
    <p:sldLayoutId id="2147483821" r:id="rId2"/>
    <p:sldLayoutId id="2147483802" r:id="rId3"/>
    <p:sldLayoutId id="2147483822" r:id="rId4"/>
    <p:sldLayoutId id="2147483803" r:id="rId5"/>
    <p:sldLayoutId id="2147483823" r:id="rId6"/>
    <p:sldLayoutId id="2147483804" r:id="rId7"/>
    <p:sldLayoutId id="2147483824" r:id="rId8"/>
    <p:sldLayoutId id="2147483796" r:id="rId9"/>
    <p:sldLayoutId id="2147483805" r:id="rId10"/>
    <p:sldLayoutId id="2147483806" r:id="rId11"/>
    <p:sldLayoutId id="2147483807" r:id="rId12"/>
    <p:sldLayoutId id="2147483825" r:id="rId13"/>
    <p:sldLayoutId id="2147483737" r:id="rId14"/>
    <p:sldLayoutId id="2147483808" r:id="rId15"/>
    <p:sldLayoutId id="2147483828" r:id="rId16"/>
    <p:sldLayoutId id="2147483732" r:id="rId17"/>
    <p:sldLayoutId id="2147483755" r:id="rId18"/>
    <p:sldLayoutId id="2147483772" r:id="rId19"/>
    <p:sldLayoutId id="2147483809" r:id="rId20"/>
    <p:sldLayoutId id="2147483810" r:id="rId21"/>
    <p:sldLayoutId id="2147483811" r:id="rId22"/>
    <p:sldLayoutId id="2147483812" r:id="rId23"/>
    <p:sldLayoutId id="2147483813" r:id="rId24"/>
    <p:sldLayoutId id="2147483814" r:id="rId25"/>
    <p:sldLayoutId id="2147483816" r:id="rId26"/>
    <p:sldLayoutId id="2147483815" r:id="rId27"/>
    <p:sldLayoutId id="2147483743" r:id="rId28"/>
    <p:sldLayoutId id="2147483817" r:id="rId29"/>
    <p:sldLayoutId id="2147483818" r:id="rId30"/>
    <p:sldLayoutId id="2147483819" r:id="rId31"/>
    <p:sldLayoutId id="2147483744" r:id="rId32"/>
    <p:sldLayoutId id="2147483798" r:id="rId33"/>
    <p:sldLayoutId id="2147483820" r:id="rId34"/>
    <p:sldLayoutId id="2147483775" r:id="rId35"/>
    <p:sldLayoutId id="2147483826" r:id="rId36"/>
    <p:sldLayoutId id="2147483827" r:id="rId37"/>
    <p:sldLayoutId id="2147483751" r:id="rId38"/>
    <p:sldLayoutId id="2147483829" r:id="rId39"/>
    <p:sldLayoutId id="2147483840" r:id="rId40"/>
  </p:sldLayoutIdLst>
  <p:hf hdr="0" ftr="0" dt="0"/>
  <p:txStyles>
    <p:titleStyle>
      <a:lvl1pPr algn="l" defTabSz="914400" rtl="0" eaLnBrk="1" latinLnBrk="0" hangingPunct="1">
        <a:lnSpc>
          <a:spcPct val="100000"/>
        </a:lnSpc>
        <a:spcBef>
          <a:spcPct val="0"/>
        </a:spcBef>
        <a:buNone/>
        <a:defRPr sz="3000" kern="1200">
          <a:solidFill>
            <a:schemeClr val="tx2"/>
          </a:solidFill>
          <a:latin typeface="+mj-lt"/>
          <a:ea typeface="+mj-ea"/>
          <a:cs typeface="+mj-cs"/>
        </a:defRPr>
      </a:lvl1pPr>
    </p:titleStyle>
    <p:bodyStyle>
      <a:lvl1pPr marL="180000" indent="-180000" algn="l" defTabSz="914400" rtl="0" eaLnBrk="1" latinLnBrk="0" hangingPunct="1">
        <a:lnSpc>
          <a:spcPct val="90000"/>
        </a:lnSpc>
        <a:spcBef>
          <a:spcPts val="0"/>
        </a:spcBef>
        <a:spcAft>
          <a:spcPts val="600"/>
        </a:spcAft>
        <a:buFont typeface="DFDS Sans" panose="00000500000000000000" pitchFamily="2" charset="0"/>
        <a:buChar char="•"/>
        <a:defRPr sz="1600" b="0" kern="1200">
          <a:solidFill>
            <a:schemeClr val="tx2"/>
          </a:solidFill>
          <a:latin typeface="+mn-lt"/>
          <a:ea typeface="+mn-ea"/>
          <a:cs typeface="+mn-cs"/>
        </a:defRPr>
      </a:lvl1pPr>
      <a:lvl2pPr marL="360000" indent="-180000" algn="l" defTabSz="914400" rtl="0" eaLnBrk="1" latinLnBrk="0" hangingPunct="1">
        <a:lnSpc>
          <a:spcPct val="90000"/>
        </a:lnSpc>
        <a:spcBef>
          <a:spcPts val="0"/>
        </a:spcBef>
        <a:spcAft>
          <a:spcPts val="600"/>
        </a:spcAft>
        <a:buFont typeface="DFDS Sans" panose="00000500000000000000" pitchFamily="2" charset="0"/>
        <a:buChar char="•"/>
        <a:defRPr sz="1400" b="0" kern="1200">
          <a:solidFill>
            <a:schemeClr val="tx2"/>
          </a:solidFill>
          <a:latin typeface="+mn-lt"/>
          <a:ea typeface="+mn-ea"/>
          <a:cs typeface="+mn-cs"/>
        </a:defRPr>
      </a:lvl2pPr>
      <a:lvl3pPr marL="0" indent="0" algn="l" defTabSz="914400" rtl="0" eaLnBrk="1" latinLnBrk="0" hangingPunct="1">
        <a:lnSpc>
          <a:spcPct val="90000"/>
        </a:lnSpc>
        <a:spcBef>
          <a:spcPts val="0"/>
        </a:spcBef>
        <a:spcAft>
          <a:spcPts val="600"/>
        </a:spcAft>
        <a:buFont typeface="DFDS Sans" panose="00000500000000000000" pitchFamily="2" charset="0"/>
        <a:buChar char="​"/>
        <a:defRPr sz="1200" b="0" kern="1200">
          <a:solidFill>
            <a:schemeClr val="tx2"/>
          </a:solidFill>
          <a:latin typeface="+mn-lt"/>
          <a:ea typeface="+mn-ea"/>
          <a:cs typeface="+mn-cs"/>
        </a:defRPr>
      </a:lvl3pPr>
      <a:lvl4pPr marL="0" indent="-180000" algn="l" defTabSz="914400" rtl="0" eaLnBrk="1" latinLnBrk="0" hangingPunct="1">
        <a:lnSpc>
          <a:spcPct val="90000"/>
        </a:lnSpc>
        <a:spcBef>
          <a:spcPts val="0"/>
        </a:spcBef>
        <a:spcAft>
          <a:spcPts val="600"/>
        </a:spcAft>
        <a:buFont typeface="DFDS Sans" panose="00000500000000000000" pitchFamily="2" charset="0"/>
        <a:buChar char="•"/>
        <a:defRPr sz="1600" b="0" kern="1200">
          <a:solidFill>
            <a:schemeClr val="tx2"/>
          </a:solidFill>
          <a:latin typeface="+mn-lt"/>
          <a:ea typeface="+mn-ea"/>
          <a:cs typeface="+mn-cs"/>
        </a:defRPr>
      </a:lvl4pPr>
      <a:lvl5pPr marL="540000" indent="-180000" algn="l" defTabSz="914400" rtl="0" eaLnBrk="1" latinLnBrk="0" hangingPunct="1">
        <a:lnSpc>
          <a:spcPct val="90000"/>
        </a:lnSpc>
        <a:spcBef>
          <a:spcPts val="0"/>
        </a:spcBef>
        <a:spcAft>
          <a:spcPts val="600"/>
        </a:spcAft>
        <a:buFont typeface="DFDS Sans" panose="00000500000000000000" pitchFamily="2" charset="0"/>
        <a:buChar char="•"/>
        <a:tabLst/>
        <a:defRPr sz="1400" b="0" kern="1200">
          <a:solidFill>
            <a:schemeClr val="tx2"/>
          </a:solidFill>
          <a:latin typeface="+mn-lt"/>
          <a:ea typeface="+mn-ea"/>
          <a:cs typeface="+mn-cs"/>
        </a:defRPr>
      </a:lvl5pPr>
      <a:lvl6pPr marL="0" indent="0" algn="l" defTabSz="914400" rtl="0" eaLnBrk="1" latinLnBrk="0" hangingPunct="1">
        <a:lnSpc>
          <a:spcPct val="90000"/>
        </a:lnSpc>
        <a:spcBef>
          <a:spcPts val="0"/>
        </a:spcBef>
        <a:spcAft>
          <a:spcPts val="600"/>
        </a:spcAft>
        <a:buFont typeface="DFDS Sans" panose="00000500000000000000" pitchFamily="2" charset="0"/>
        <a:buChar char="​"/>
        <a:defRPr sz="1200" b="0" kern="1200">
          <a:solidFill>
            <a:schemeClr val="tx2"/>
          </a:solidFill>
          <a:latin typeface="+mn-lt"/>
          <a:ea typeface="+mn-ea"/>
          <a:cs typeface="+mn-cs"/>
        </a:defRPr>
      </a:lvl6pPr>
      <a:lvl7pPr marL="180000" indent="-180000" algn="l" defTabSz="914400" rtl="0" eaLnBrk="1" latinLnBrk="0" hangingPunct="1">
        <a:lnSpc>
          <a:spcPct val="90000"/>
        </a:lnSpc>
        <a:spcBef>
          <a:spcPts val="0"/>
        </a:spcBef>
        <a:spcAft>
          <a:spcPts val="600"/>
        </a:spcAft>
        <a:buFont typeface="DFDS Sans" panose="00000500000000000000" pitchFamily="2" charset="0"/>
        <a:buChar char="•"/>
        <a:defRPr sz="1600" b="0" kern="1200" baseline="0">
          <a:solidFill>
            <a:schemeClr val="tx2"/>
          </a:solidFill>
          <a:latin typeface="+mn-lt"/>
          <a:ea typeface="+mn-ea"/>
          <a:cs typeface="+mn-cs"/>
        </a:defRPr>
      </a:lvl7pPr>
      <a:lvl8pPr marL="360000" indent="-180000" algn="l" defTabSz="914400" rtl="0" eaLnBrk="1" latinLnBrk="0" hangingPunct="1">
        <a:lnSpc>
          <a:spcPct val="90000"/>
        </a:lnSpc>
        <a:spcBef>
          <a:spcPts val="0"/>
        </a:spcBef>
        <a:spcAft>
          <a:spcPts val="600"/>
        </a:spcAft>
        <a:buFont typeface="DFDS Sans" panose="00000500000000000000" pitchFamily="2" charset="0"/>
        <a:buChar char="•"/>
        <a:defRPr sz="1400" b="0" kern="1200">
          <a:solidFill>
            <a:schemeClr val="tx2"/>
          </a:solidFill>
          <a:latin typeface="+mn-lt"/>
          <a:ea typeface="+mn-ea"/>
          <a:cs typeface="+mn-cs"/>
        </a:defRPr>
      </a:lvl8pPr>
      <a:lvl9pPr marL="0" indent="0" algn="l" defTabSz="914400" rtl="0" eaLnBrk="1" latinLnBrk="0" hangingPunct="1">
        <a:lnSpc>
          <a:spcPct val="90000"/>
        </a:lnSpc>
        <a:spcBef>
          <a:spcPts val="0"/>
        </a:spcBef>
        <a:spcAft>
          <a:spcPts val="0"/>
        </a:spcAft>
        <a:buFont typeface="DFDS Sans" panose="00000500000000000000" pitchFamily="2" charset="0"/>
        <a:buChar char="​"/>
        <a:defRPr sz="1200" b="0" kern="1200" baseline="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5" pos="170" userDrawn="1">
          <p15:clr>
            <a:srgbClr val="A4A4A4"/>
          </p15:clr>
        </p15:guide>
        <p15:guide id="6" pos="677" userDrawn="1">
          <p15:clr>
            <a:srgbClr val="A4A4A4"/>
          </p15:clr>
        </p15:guide>
        <p15:guide id="7" orient="horz" pos="170" userDrawn="1">
          <p15:clr>
            <a:srgbClr val="A4A4A4"/>
          </p15:clr>
        </p15:guide>
        <p15:guide id="8" orient="horz" pos="4149" userDrawn="1">
          <p15:clr>
            <a:srgbClr val="A4A4A4"/>
          </p15:clr>
        </p15:guide>
        <p15:guide id="9" pos="791" userDrawn="1">
          <p15:clr>
            <a:srgbClr val="A4A4A4"/>
          </p15:clr>
        </p15:guide>
        <p15:guide id="10" pos="1298" userDrawn="1">
          <p15:clr>
            <a:srgbClr val="A4A4A4"/>
          </p15:clr>
        </p15:guide>
        <p15:guide id="11" pos="1412" userDrawn="1">
          <p15:clr>
            <a:srgbClr val="A4A4A4"/>
          </p15:clr>
        </p15:guide>
        <p15:guide id="12" pos="1920" userDrawn="1">
          <p15:clr>
            <a:srgbClr val="A4A4A4"/>
          </p15:clr>
        </p15:guide>
        <p15:guide id="13" pos="2033" userDrawn="1">
          <p15:clr>
            <a:srgbClr val="A4A4A4"/>
          </p15:clr>
        </p15:guide>
        <p15:guide id="14" pos="2541" userDrawn="1">
          <p15:clr>
            <a:srgbClr val="A4A4A4"/>
          </p15:clr>
        </p15:guide>
        <p15:guide id="15" pos="2654" userDrawn="1">
          <p15:clr>
            <a:srgbClr val="A4A4A4"/>
          </p15:clr>
        </p15:guide>
        <p15:guide id="16" pos="3162" userDrawn="1">
          <p15:clr>
            <a:srgbClr val="A4A4A4"/>
          </p15:clr>
        </p15:guide>
        <p15:guide id="17" pos="3275" userDrawn="1">
          <p15:clr>
            <a:srgbClr val="A4A4A4"/>
          </p15:clr>
        </p15:guide>
        <p15:guide id="18" pos="3783" userDrawn="1">
          <p15:clr>
            <a:srgbClr val="A4A4A4"/>
          </p15:clr>
        </p15:guide>
        <p15:guide id="19" pos="3896" userDrawn="1">
          <p15:clr>
            <a:srgbClr val="A4A4A4"/>
          </p15:clr>
        </p15:guide>
        <p15:guide id="20" pos="4404" userDrawn="1">
          <p15:clr>
            <a:srgbClr val="A4A4A4"/>
          </p15:clr>
        </p15:guide>
        <p15:guide id="21" pos="4517" userDrawn="1">
          <p15:clr>
            <a:srgbClr val="A4A4A4"/>
          </p15:clr>
        </p15:guide>
        <p15:guide id="22" pos="5025" userDrawn="1">
          <p15:clr>
            <a:srgbClr val="A4A4A4"/>
          </p15:clr>
        </p15:guide>
        <p15:guide id="23" pos="5138" userDrawn="1">
          <p15:clr>
            <a:srgbClr val="A4A4A4"/>
          </p15:clr>
        </p15:guide>
        <p15:guide id="24" pos="5646" userDrawn="1">
          <p15:clr>
            <a:srgbClr val="A4A4A4"/>
          </p15:clr>
        </p15:guide>
        <p15:guide id="25" pos="5760" userDrawn="1">
          <p15:clr>
            <a:srgbClr val="A4A4A4"/>
          </p15:clr>
        </p15:guide>
        <p15:guide id="26" pos="6267" userDrawn="1">
          <p15:clr>
            <a:srgbClr val="A4A4A4"/>
          </p15:clr>
        </p15:guide>
        <p15:guide id="27" pos="6381" userDrawn="1">
          <p15:clr>
            <a:srgbClr val="A4A4A4"/>
          </p15:clr>
        </p15:guide>
        <p15:guide id="28" pos="6888" userDrawn="1">
          <p15:clr>
            <a:srgbClr val="A4A4A4"/>
          </p15:clr>
        </p15:guide>
        <p15:guide id="29" pos="7002" userDrawn="1">
          <p15:clr>
            <a:srgbClr val="A4A4A4"/>
          </p15:clr>
        </p15:guide>
        <p15:guide id="30" pos="7509" userDrawn="1">
          <p15:clr>
            <a:srgbClr val="A4A4A4"/>
          </p15:clr>
        </p15:guide>
        <p15:guide id="31" orient="horz" pos="3868" userDrawn="1">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chart" Target="../charts/chart4.xml"/><Relationship Id="rId5" Type="http://schemas.openxmlformats.org/officeDocument/2006/relationships/image" Target="../media/image30.emf"/><Relationship Id="rId4" Type="http://schemas.openxmlformats.org/officeDocument/2006/relationships/oleObject" Target="../embeddings/oleObject5.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3.xml"/><Relationship Id="rId7" Type="http://schemas.openxmlformats.org/officeDocument/2006/relationships/chart" Target="../charts/chart6.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chart" Target="../charts/chart5.xml"/><Relationship Id="rId5" Type="http://schemas.openxmlformats.org/officeDocument/2006/relationships/image" Target="../media/image30.emf"/><Relationship Id="rId4" Type="http://schemas.openxmlformats.org/officeDocument/2006/relationships/oleObject" Target="../embeddings/oleObject5.bin"/></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39.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33.emf"/><Relationship Id="rId5" Type="http://schemas.openxmlformats.org/officeDocument/2006/relationships/image" Target="../media/image30.emf"/><Relationship Id="rId4" Type="http://schemas.openxmlformats.org/officeDocument/2006/relationships/oleObject" Target="../embeddings/oleObject5.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34.emf"/><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30.emf"/><Relationship Id="rId5" Type="http://schemas.openxmlformats.org/officeDocument/2006/relationships/oleObject" Target="../embeddings/oleObject5.bin"/><Relationship Id="rId4" Type="http://schemas.openxmlformats.org/officeDocument/2006/relationships/notesSlide" Target="../notesSlides/notesSlide3.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30.xml"/><Relationship Id="rId1" Type="http://schemas.openxmlformats.org/officeDocument/2006/relationships/tags" Target="../tags/tag29.xml"/><Relationship Id="rId5" Type="http://schemas.openxmlformats.org/officeDocument/2006/relationships/image" Target="../media/image30.emf"/><Relationship Id="rId4" Type="http://schemas.openxmlformats.org/officeDocument/2006/relationships/oleObject" Target="../embeddings/oleObject3.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2.xml"/><Relationship Id="rId7" Type="http://schemas.openxmlformats.org/officeDocument/2006/relationships/image" Target="../media/image36.jp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35.jpg"/><Relationship Id="rId5" Type="http://schemas.openxmlformats.org/officeDocument/2006/relationships/image" Target="../media/image30.emf"/><Relationship Id="rId4" Type="http://schemas.openxmlformats.org/officeDocument/2006/relationships/oleObject" Target="../embeddings/oleObject5.bin"/></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34.xml"/><Relationship Id="rId1" Type="http://schemas.openxmlformats.org/officeDocument/2006/relationships/tags" Target="../tags/tag33.xml"/><Relationship Id="rId5" Type="http://schemas.openxmlformats.org/officeDocument/2006/relationships/image" Target="../media/image30.emf"/><Relationship Id="rId4" Type="http://schemas.openxmlformats.org/officeDocument/2006/relationships/oleObject" Target="../embeddings/oleObject3.bin"/></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37.jpg"/><Relationship Id="rId5" Type="http://schemas.openxmlformats.org/officeDocument/2006/relationships/image" Target="../media/image30.emf"/><Relationship Id="rId4" Type="http://schemas.openxmlformats.org/officeDocument/2006/relationships/oleObject" Target="../embeddings/oleObject5.bin"/></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38.jpg"/><Relationship Id="rId5" Type="http://schemas.openxmlformats.org/officeDocument/2006/relationships/image" Target="../media/image30.emf"/><Relationship Id="rId4" Type="http://schemas.openxmlformats.org/officeDocument/2006/relationships/oleObject" Target="../embeddings/oleObject5.bin"/></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39.jpg"/><Relationship Id="rId5" Type="http://schemas.openxmlformats.org/officeDocument/2006/relationships/image" Target="../media/image30.emf"/><Relationship Id="rId4" Type="http://schemas.openxmlformats.org/officeDocument/2006/relationships/oleObject" Target="../embeddings/oleObject5.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30.emf"/><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image" Target="../media/image40.jpeg"/><Relationship Id="rId5" Type="http://schemas.openxmlformats.org/officeDocument/2006/relationships/image" Target="../media/image30.emf"/><Relationship Id="rId4" Type="http://schemas.openxmlformats.org/officeDocument/2006/relationships/oleObject" Target="../embeddings/oleObject5.bin"/></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tags" Target="../tags/tag44.xml"/><Relationship Id="rId1" Type="http://schemas.openxmlformats.org/officeDocument/2006/relationships/tags" Target="../tags/tag43.xml"/><Relationship Id="rId5" Type="http://schemas.openxmlformats.org/officeDocument/2006/relationships/image" Target="../media/image30.emf"/><Relationship Id="rId4" Type="http://schemas.openxmlformats.org/officeDocument/2006/relationships/oleObject" Target="../embeddings/oleObject5.bin"/></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46.xml"/><Relationship Id="rId1" Type="http://schemas.openxmlformats.org/officeDocument/2006/relationships/tags" Target="../tags/tag45.xml"/><Relationship Id="rId5" Type="http://schemas.openxmlformats.org/officeDocument/2006/relationships/image" Target="../media/image30.emf"/><Relationship Id="rId4" Type="http://schemas.openxmlformats.org/officeDocument/2006/relationships/oleObject" Target="../embeddings/oleObject3.bin"/></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22.xml"/><Relationship Id="rId7" Type="http://schemas.openxmlformats.org/officeDocument/2006/relationships/image" Target="../media/image41.png"/><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image" Target="../media/image30.emf"/><Relationship Id="rId5" Type="http://schemas.openxmlformats.org/officeDocument/2006/relationships/oleObject" Target="../embeddings/oleObject5.bin"/><Relationship Id="rId4" Type="http://schemas.openxmlformats.org/officeDocument/2006/relationships/notesSlide" Target="../notesSlides/notesSlide4.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39.xml"/><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image" Target="../media/image42.emf"/><Relationship Id="rId5" Type="http://schemas.openxmlformats.org/officeDocument/2006/relationships/image" Target="../media/image30.emf"/><Relationship Id="rId4" Type="http://schemas.openxmlformats.org/officeDocument/2006/relationships/oleObject" Target="../embeddings/oleObject5.bin"/></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image" Target="../media/image43.jpeg"/><Relationship Id="rId5" Type="http://schemas.openxmlformats.org/officeDocument/2006/relationships/image" Target="../media/image30.emf"/><Relationship Id="rId4" Type="http://schemas.openxmlformats.org/officeDocument/2006/relationships/oleObject" Target="../embeddings/oleObject5.bin"/></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31.jp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30.emf"/><Relationship Id="rId5" Type="http://schemas.openxmlformats.org/officeDocument/2006/relationships/oleObject" Target="../embeddings/oleObject4.bin"/><Relationship Id="rId4" Type="http://schemas.openxmlformats.org/officeDocument/2006/relationships/notesSlide" Target="../notesSlides/notesSlide1.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39.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30.emf"/><Relationship Id="rId5" Type="http://schemas.openxmlformats.org/officeDocument/2006/relationships/oleObject" Target="../embeddings/oleObject5.bin"/><Relationship Id="rId4" Type="http://schemas.openxmlformats.org/officeDocument/2006/relationships/notesSlide" Target="../notesSlides/notesSlide2.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30.emf"/><Relationship Id="rId4" Type="http://schemas.openxmlformats.org/officeDocument/2006/relationships/oleObject" Target="../embeddings/oleObject3.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chart" Target="../charts/chart1.xml"/><Relationship Id="rId5" Type="http://schemas.openxmlformats.org/officeDocument/2006/relationships/image" Target="../media/image30.emf"/><Relationship Id="rId4" Type="http://schemas.openxmlformats.org/officeDocument/2006/relationships/oleObject" Target="../embeddings/oleObject5.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3.xml"/><Relationship Id="rId7" Type="http://schemas.openxmlformats.org/officeDocument/2006/relationships/chart" Target="../charts/chart3.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chart" Target="../charts/chart2.xml"/><Relationship Id="rId5" Type="http://schemas.openxmlformats.org/officeDocument/2006/relationships/image" Target="../media/image30.emf"/><Relationship Id="rId4" Type="http://schemas.openxmlformats.org/officeDocument/2006/relationships/oleObject" Target="../embeddings/oleObject5.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39.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32.emf"/><Relationship Id="rId5" Type="http://schemas.openxmlformats.org/officeDocument/2006/relationships/image" Target="../media/image30.emf"/><Relationship Id="rId4" Type="http://schemas.openxmlformats.org/officeDocument/2006/relationships/oleObject" Target="../embeddings/oleObject5.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image" Target="../media/image30.emf"/><Relationship Id="rId4" Type="http://schemas.openxmlformats.org/officeDocument/2006/relationships/oleObject" Target="../embeddings/oleObject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a:extLst>
              <a:ext uri="{FF2B5EF4-FFF2-40B4-BE49-F238E27FC236}">
                <a16:creationId xmlns:a16="http://schemas.microsoft.com/office/drawing/2014/main" id="{3CDF7AA4-81B1-DE35-43ED-A4FCEC9C9832}"/>
              </a:ext>
            </a:extLst>
          </p:cNvPr>
          <p:cNvPicPr>
            <a:picLocks noGrp="1" noChangeAspect="1"/>
          </p:cNvPicPr>
          <p:nvPr>
            <p:ph type="pic" sz="quarter" idx="18"/>
          </p:nvPr>
        </p:nvPicPr>
        <p:blipFill>
          <a:blip r:embed="rId2">
            <a:extLst>
              <a:ext uri="{28A0092B-C50C-407E-A947-70E740481C1C}">
                <a14:useLocalDpi xmlns:a14="http://schemas.microsoft.com/office/drawing/2010/main" val="0"/>
              </a:ext>
            </a:extLst>
          </a:blip>
          <a:srcRect l="177" t="10108" r="10498"/>
          <a:stretch/>
        </p:blipFill>
        <p:spPr>
          <a:xfrm>
            <a:off x="-2788" y="-18484"/>
            <a:ext cx="12194788" cy="6876484"/>
          </a:xfrm>
        </p:spPr>
      </p:pic>
      <p:sp>
        <p:nvSpPr>
          <p:cNvPr id="5" name="Title 4">
            <a:extLst>
              <a:ext uri="{FF2B5EF4-FFF2-40B4-BE49-F238E27FC236}">
                <a16:creationId xmlns:a16="http://schemas.microsoft.com/office/drawing/2014/main" id="{2C54BC88-CEE1-8659-9756-ED050438AF65}"/>
              </a:ext>
            </a:extLst>
          </p:cNvPr>
          <p:cNvSpPr>
            <a:spLocks noGrp="1"/>
          </p:cNvSpPr>
          <p:nvPr>
            <p:ph type="ctrTitle"/>
          </p:nvPr>
        </p:nvSpPr>
        <p:spPr/>
        <p:txBody>
          <a:bodyPr/>
          <a:lstStyle/>
          <a:p>
            <a:r>
              <a:rPr lang="da-DK" sz="6600">
                <a:solidFill>
                  <a:schemeClr val="accent1"/>
                </a:solidFill>
              </a:rPr>
              <a:t>Unlocking value &amp; earnings recovery</a:t>
            </a:r>
          </a:p>
        </p:txBody>
      </p:sp>
      <p:sp>
        <p:nvSpPr>
          <p:cNvPr id="6" name="Subtitle 5">
            <a:extLst>
              <a:ext uri="{FF2B5EF4-FFF2-40B4-BE49-F238E27FC236}">
                <a16:creationId xmlns:a16="http://schemas.microsoft.com/office/drawing/2014/main" id="{39F3702A-A0C2-E17D-B2B0-5FF549B514A5}"/>
              </a:ext>
            </a:extLst>
          </p:cNvPr>
          <p:cNvSpPr>
            <a:spLocks noGrp="1"/>
          </p:cNvSpPr>
          <p:nvPr>
            <p:ph type="subTitle" idx="1"/>
          </p:nvPr>
        </p:nvSpPr>
        <p:spPr>
          <a:xfrm>
            <a:off x="269875" y="6429375"/>
            <a:ext cx="3259837" cy="157163"/>
          </a:xfrm>
        </p:spPr>
        <p:txBody>
          <a:bodyPr/>
          <a:lstStyle/>
          <a:p>
            <a:r>
              <a:rPr lang="da-DK"/>
              <a:t>Q4 &amp; FY 2024 investor call,  21 February 2025</a:t>
            </a:r>
          </a:p>
        </p:txBody>
      </p:sp>
      <p:sp>
        <p:nvSpPr>
          <p:cNvPr id="3" name="Text Placeholder 2">
            <a:extLst>
              <a:ext uri="{FF2B5EF4-FFF2-40B4-BE49-F238E27FC236}">
                <a16:creationId xmlns:a16="http://schemas.microsoft.com/office/drawing/2014/main" id="{1A1179C5-7846-8C3C-D1BF-76BAF5FB47B3}"/>
              </a:ext>
            </a:extLst>
          </p:cNvPr>
          <p:cNvSpPr>
            <a:spLocks noGrp="1"/>
          </p:cNvSpPr>
          <p:nvPr>
            <p:ph type="body" sz="quarter" idx="20"/>
          </p:nvPr>
        </p:nvSpPr>
        <p:spPr/>
        <p:txBody>
          <a:bodyPr/>
          <a:lstStyle/>
          <a:p>
            <a:endParaRPr lang="da-DK"/>
          </a:p>
        </p:txBody>
      </p:sp>
    </p:spTree>
    <p:extLst>
      <p:ext uri="{BB962C8B-B14F-4D97-AF65-F5344CB8AC3E}">
        <p14:creationId xmlns:p14="http://schemas.microsoft.com/office/powerpoint/2010/main" val="2245738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C8EB46E-754D-4239-8498-640983F9545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8" imgH="278" progId="TCLayout.ActiveDocument.1">
                  <p:embed/>
                </p:oleObj>
              </mc:Choice>
              <mc:Fallback>
                <p:oleObj name="think-cell Slide" r:id="rId4" imgW="278" imgH="278" progId="TCLayout.ActiveDocument.1">
                  <p:embed/>
                  <p:pic>
                    <p:nvPicPr>
                      <p:cNvPr id="5" name="Object 4" hidden="1">
                        <a:extLst>
                          <a:ext uri="{FF2B5EF4-FFF2-40B4-BE49-F238E27FC236}">
                            <a16:creationId xmlns:a16="http://schemas.microsoft.com/office/drawing/2014/main" id="{1C8EB46E-754D-4239-8498-640983F9545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0D5AF93A-54B4-41D8-B519-B05CA4715B2E}"/>
              </a:ext>
            </a:extLst>
          </p:cNvPr>
          <p:cNvSpPr/>
          <p:nvPr>
            <p:custDataLst>
              <p:tags r:id="rId2"/>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da-DK" sz="2400" dirty="0">
              <a:solidFill>
                <a:schemeClr val="bg1"/>
              </a:solidFill>
              <a:latin typeface="DFDS Bold" panose="00000800000000000000" pitchFamily="2" charset="0"/>
              <a:ea typeface="+mj-ea"/>
              <a:cs typeface="+mj-cs"/>
              <a:sym typeface="DFDS Bold" panose="00000800000000000000" pitchFamily="2" charset="0"/>
            </a:endParaRPr>
          </a:p>
        </p:txBody>
      </p:sp>
      <p:sp>
        <p:nvSpPr>
          <p:cNvPr id="16" name="Rectangle 4">
            <a:extLst>
              <a:ext uri="{FF2B5EF4-FFF2-40B4-BE49-F238E27FC236}">
                <a16:creationId xmlns:a16="http://schemas.microsoft.com/office/drawing/2014/main" id="{C3AB49D5-AA73-44EE-BEEE-9106EAB628A7}"/>
              </a:ext>
            </a:extLst>
          </p:cNvPr>
          <p:cNvSpPr>
            <a:spLocks noGrp="1" noChangeArrowheads="1"/>
          </p:cNvSpPr>
          <p:nvPr>
            <p:ph type="title"/>
          </p:nvPr>
        </p:nvSpPr>
        <p:spPr>
          <a:xfrm>
            <a:off x="281131" y="276855"/>
            <a:ext cx="5739322" cy="930275"/>
          </a:xfrm>
        </p:spPr>
        <p:txBody>
          <a:bodyPr vert="horz" wrap="square" lIns="0" tIns="0" rIns="0" bIns="0" rtlCol="0" anchor="t">
            <a:noAutofit/>
          </a:bodyPr>
          <a:lstStyle/>
          <a:p>
            <a:r>
              <a:rPr lang="da-DK"/>
              <a:t>2% organic revenue growth</a:t>
            </a:r>
            <a:endParaRPr lang="en-US" dirty="0"/>
          </a:p>
        </p:txBody>
      </p:sp>
      <p:sp>
        <p:nvSpPr>
          <p:cNvPr id="7" name="Subtitle 6">
            <a:extLst>
              <a:ext uri="{FF2B5EF4-FFF2-40B4-BE49-F238E27FC236}">
                <a16:creationId xmlns:a16="http://schemas.microsoft.com/office/drawing/2014/main" id="{C6A672BC-8E07-C7FC-C52E-CD8589B684F6}"/>
              </a:ext>
            </a:extLst>
          </p:cNvPr>
          <p:cNvSpPr>
            <a:spLocks noGrp="1"/>
          </p:cNvSpPr>
          <p:nvPr>
            <p:ph type="subTitle" idx="13"/>
          </p:nvPr>
        </p:nvSpPr>
        <p:spPr/>
        <p:txBody>
          <a:bodyPr/>
          <a:lstStyle/>
          <a:p>
            <a:endParaRPr lang="da-DK"/>
          </a:p>
        </p:txBody>
      </p:sp>
      <p:sp>
        <p:nvSpPr>
          <p:cNvPr id="8" name="Picture Placeholder 7">
            <a:extLst>
              <a:ext uri="{FF2B5EF4-FFF2-40B4-BE49-F238E27FC236}">
                <a16:creationId xmlns:a16="http://schemas.microsoft.com/office/drawing/2014/main" id="{E0D9EDB8-5EA6-AD95-29AF-D47BAD6D97E8}"/>
              </a:ext>
            </a:extLst>
          </p:cNvPr>
          <p:cNvSpPr>
            <a:spLocks noGrp="1"/>
          </p:cNvSpPr>
          <p:nvPr>
            <p:ph type="pic" sz="quarter" idx="18"/>
          </p:nvPr>
        </p:nvSpPr>
        <p:spPr/>
        <p:txBody>
          <a:bodyPr/>
          <a:lstStyle/>
          <a:p>
            <a:endParaRPr lang="da-DK"/>
          </a:p>
        </p:txBody>
      </p:sp>
      <p:sp>
        <p:nvSpPr>
          <p:cNvPr id="17" name="TextBox 8">
            <a:extLst>
              <a:ext uri="{FF2B5EF4-FFF2-40B4-BE49-F238E27FC236}">
                <a16:creationId xmlns:a16="http://schemas.microsoft.com/office/drawing/2014/main" id="{2D2617CA-DFEC-4135-85C4-115D3B1A59B8}"/>
              </a:ext>
            </a:extLst>
          </p:cNvPr>
          <p:cNvSpPr txBox="1">
            <a:spLocks noChangeArrowheads="1"/>
          </p:cNvSpPr>
          <p:nvPr/>
        </p:nvSpPr>
        <p:spPr bwMode="auto">
          <a:xfrm>
            <a:off x="11510963" y="1285875"/>
            <a:ext cx="1847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atin typeface="DFDS Light" panose="02000300000000020000" pitchFamily="2" charset="0"/>
            </a:endParaRPr>
          </a:p>
        </p:txBody>
      </p:sp>
      <p:sp>
        <p:nvSpPr>
          <p:cNvPr id="4" name="Slide Number Placeholder 1">
            <a:extLst>
              <a:ext uri="{FF2B5EF4-FFF2-40B4-BE49-F238E27FC236}">
                <a16:creationId xmlns:a16="http://schemas.microsoft.com/office/drawing/2014/main" id="{BF8B562C-B7F6-A7E1-AE97-B0F816C21C76}"/>
              </a:ext>
            </a:extLst>
          </p:cNvPr>
          <p:cNvSpPr txBox="1">
            <a:spLocks/>
          </p:cNvSpPr>
          <p:nvPr/>
        </p:nvSpPr>
        <p:spPr>
          <a:xfrm>
            <a:off x="234975" y="6431279"/>
            <a:ext cx="323438" cy="1800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6BB336-FA68-49FA-BBEA-E8420972406D}" type="slidenum">
              <a:rPr lang="en-GB" sz="800" smtClean="0"/>
              <a:pPr/>
              <a:t>10</a:t>
            </a:fld>
            <a:endParaRPr lang="en-GB" sz="800"/>
          </a:p>
        </p:txBody>
      </p:sp>
      <p:graphicFrame>
        <p:nvGraphicFramePr>
          <p:cNvPr id="9" name="Chart 8">
            <a:extLst>
              <a:ext uri="{FF2B5EF4-FFF2-40B4-BE49-F238E27FC236}">
                <a16:creationId xmlns:a16="http://schemas.microsoft.com/office/drawing/2014/main" id="{087AE42A-F599-4A0D-A3C3-0A00AA6F2E1D}"/>
              </a:ext>
            </a:extLst>
          </p:cNvPr>
          <p:cNvGraphicFramePr>
            <a:graphicFrameLocks/>
          </p:cNvGraphicFramePr>
          <p:nvPr>
            <p:extLst>
              <p:ext uri="{D42A27DB-BD31-4B8C-83A1-F6EECF244321}">
                <p14:modId xmlns:p14="http://schemas.microsoft.com/office/powerpoint/2010/main" val="829242844"/>
              </p:ext>
            </p:extLst>
          </p:nvPr>
        </p:nvGraphicFramePr>
        <p:xfrm>
          <a:off x="6510528" y="555954"/>
          <a:ext cx="5568374" cy="6030583"/>
        </p:xfrm>
        <a:graphic>
          <a:graphicData uri="http://schemas.openxmlformats.org/drawingml/2006/chart">
            <c:chart xmlns:c="http://schemas.openxmlformats.org/drawingml/2006/chart" xmlns:r="http://schemas.openxmlformats.org/officeDocument/2006/relationships" r:id="rId6"/>
          </a:graphicData>
        </a:graphic>
      </p:graphicFrame>
      <p:sp>
        <p:nvSpPr>
          <p:cNvPr id="10" name="Content Placeholder 7">
            <a:extLst>
              <a:ext uri="{FF2B5EF4-FFF2-40B4-BE49-F238E27FC236}">
                <a16:creationId xmlns:a16="http://schemas.microsoft.com/office/drawing/2014/main" id="{31783FC5-C0D8-9AAB-73A6-56349FC611DE}"/>
              </a:ext>
            </a:extLst>
          </p:cNvPr>
          <p:cNvSpPr txBox="1">
            <a:spLocks/>
          </p:cNvSpPr>
          <p:nvPr/>
        </p:nvSpPr>
        <p:spPr bwMode="auto">
          <a:xfrm>
            <a:off x="281131" y="1934663"/>
            <a:ext cx="4385967" cy="392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80975" indent="-180975">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buFont typeface="Arial" panose="020B0604020202020204" pitchFamily="34" charset="0"/>
              <a:buChar char="•"/>
            </a:pPr>
            <a:r>
              <a:rPr lang="en-US" sz="1800" b="1">
                <a:latin typeface="DFDS Sans Offc" panose="00000500000000000000" pitchFamily="2" charset="0"/>
              </a:rPr>
              <a:t>Group organic revenue*</a:t>
            </a:r>
            <a:r>
              <a:rPr lang="en-US" sz="1800">
                <a:latin typeface="DFDS Sans Offc" panose="00000500000000000000" pitchFamily="2" charset="0"/>
              </a:rPr>
              <a:t> up 1.9%</a:t>
            </a:r>
          </a:p>
          <a:p>
            <a:pPr>
              <a:buFont typeface="Arial" panose="020B0604020202020204" pitchFamily="34" charset="0"/>
              <a:buChar char="•"/>
            </a:pPr>
            <a:endParaRPr lang="en-US" sz="1800" b="1">
              <a:latin typeface="DFDS Sans Offc" panose="00000500000000000000" pitchFamily="2" charset="0"/>
            </a:endParaRPr>
          </a:p>
          <a:p>
            <a:pPr>
              <a:buFont typeface="Arial" panose="020B0604020202020204" pitchFamily="34" charset="0"/>
              <a:buChar char="•"/>
            </a:pPr>
            <a:r>
              <a:rPr lang="en-US" sz="1800" b="1">
                <a:latin typeface="DFDS Sans Offc" panose="00000500000000000000" pitchFamily="2" charset="0"/>
              </a:rPr>
              <a:t>Freight ferry</a:t>
            </a:r>
            <a:r>
              <a:rPr lang="en-US" sz="1800">
                <a:latin typeface="DFDS Sans Offc" panose="00000500000000000000" pitchFamily="2" charset="0"/>
              </a:rPr>
              <a:t> organic revenue on level with 2023</a:t>
            </a:r>
          </a:p>
          <a:p>
            <a:pPr>
              <a:buFont typeface="Arial" panose="020B0604020202020204" pitchFamily="34" charset="0"/>
              <a:buChar char="•"/>
            </a:pPr>
            <a:endParaRPr lang="en-US" b="1">
              <a:latin typeface="DFDS Sans Offc" panose="00000500000000000000" pitchFamily="2" charset="0"/>
            </a:endParaRPr>
          </a:p>
          <a:p>
            <a:pPr>
              <a:buFont typeface="Arial" panose="020B0604020202020204" pitchFamily="34" charset="0"/>
              <a:buChar char="•"/>
            </a:pPr>
            <a:r>
              <a:rPr lang="en-US" sz="1800" b="1">
                <a:latin typeface="DFDS Sans Offc" panose="00000500000000000000" pitchFamily="2" charset="0"/>
              </a:rPr>
              <a:t>Passenger</a:t>
            </a:r>
            <a:r>
              <a:rPr lang="en-US" sz="1800">
                <a:latin typeface="DFDS Sans Offc" panose="00000500000000000000" pitchFamily="2" charset="0"/>
              </a:rPr>
              <a:t> organic revenue up 9.6% driven by Channel from higher volumes and spend</a:t>
            </a:r>
          </a:p>
          <a:p>
            <a:pPr>
              <a:buFont typeface="Arial" panose="020B0604020202020204" pitchFamily="34" charset="0"/>
              <a:buChar char="•"/>
            </a:pPr>
            <a:endParaRPr lang="en-US" sz="1800">
              <a:latin typeface="DFDS Sans Offc" panose="00000500000000000000" pitchFamily="2" charset="0"/>
            </a:endParaRPr>
          </a:p>
          <a:p>
            <a:pPr eaLnBrk="1" hangingPunct="1">
              <a:buFont typeface="Arial" panose="020B0604020202020204" pitchFamily="34" charset="0"/>
              <a:buChar char="•"/>
            </a:pPr>
            <a:r>
              <a:rPr lang="en-US" sz="1800" b="1">
                <a:latin typeface="DFDS Sans Offc" panose="00000500000000000000" pitchFamily="2" charset="0"/>
              </a:rPr>
              <a:t>Logistics</a:t>
            </a:r>
            <a:r>
              <a:rPr lang="en-US" sz="1800">
                <a:latin typeface="DFDS Sans Offc" panose="00000500000000000000" pitchFamily="2" charset="0"/>
              </a:rPr>
              <a:t> organic revenue up 3.2% driven by all regions</a:t>
            </a:r>
            <a:endParaRPr lang="en-US" sz="1800">
              <a:highlight>
                <a:srgbClr val="FFFF00"/>
              </a:highlight>
              <a:latin typeface="DFDS Sans Offc" panose="00000500000000000000" pitchFamily="2" charset="0"/>
            </a:endParaRPr>
          </a:p>
          <a:p>
            <a:pPr eaLnBrk="1" hangingPunct="1">
              <a:buFont typeface="Arial" panose="020B0604020202020204" pitchFamily="34" charset="0"/>
              <a:buChar char="•"/>
            </a:pPr>
            <a:endParaRPr lang="en-US" sz="1800">
              <a:latin typeface="DFDS Sans Offc" panose="00000500000000000000" pitchFamily="2" charset="0"/>
            </a:endParaRPr>
          </a:p>
          <a:p>
            <a:pPr>
              <a:buFont typeface="Arial" panose="020B0604020202020204" pitchFamily="34" charset="0"/>
              <a:buChar char="•"/>
            </a:pPr>
            <a:r>
              <a:rPr lang="en-US" sz="1800" b="1">
                <a:latin typeface="DFDS Sans Offc" panose="00000500000000000000" pitchFamily="2" charset="0"/>
              </a:rPr>
              <a:t>Acquisitions, net</a:t>
            </a:r>
            <a:r>
              <a:rPr lang="en-US" sz="1800">
                <a:latin typeface="DFDS Sans Offc" panose="00000500000000000000" pitchFamily="2" charset="0"/>
              </a:rPr>
              <a:t> added revenue of</a:t>
            </a:r>
            <a:br>
              <a:rPr lang="en-US" sz="1800">
                <a:latin typeface="DFDS Sans Offc" panose="00000500000000000000" pitchFamily="2" charset="0"/>
              </a:rPr>
            </a:br>
            <a:r>
              <a:rPr lang="en-US" sz="1800">
                <a:latin typeface="DFDS Sans Offc" panose="00000500000000000000" pitchFamily="2" charset="0"/>
              </a:rPr>
              <a:t>DKK 2.0bn of which DKK 1.2bn from FRS Iberia/Maroc</a:t>
            </a:r>
          </a:p>
        </p:txBody>
      </p:sp>
      <p:sp>
        <p:nvSpPr>
          <p:cNvPr id="11" name="TextBox 10">
            <a:extLst>
              <a:ext uri="{FF2B5EF4-FFF2-40B4-BE49-F238E27FC236}">
                <a16:creationId xmlns:a16="http://schemas.microsoft.com/office/drawing/2014/main" id="{F7C1FF7D-19DC-D20C-068C-06B7D4D124A4}"/>
              </a:ext>
            </a:extLst>
          </p:cNvPr>
          <p:cNvSpPr txBox="1"/>
          <p:nvPr/>
        </p:nvSpPr>
        <p:spPr>
          <a:xfrm>
            <a:off x="936984" y="6479826"/>
            <a:ext cx="829353" cy="1504151"/>
          </a:xfrm>
          <a:prstGeom prst="rect">
            <a:avLst/>
          </a:prstGeom>
          <a:noFill/>
        </p:spPr>
        <p:txBody>
          <a:bodyPr wrap="none" lIns="0" tIns="0" rIns="0" bIns="0" rtlCol="0">
            <a:noAutofit/>
          </a:bodyPr>
          <a:lstStyle/>
          <a:p>
            <a:r>
              <a:rPr lang="en-GB" sz="726"/>
              <a:t>*Adjusted for BAF/ETS, acquisitions, and 2023 one-off releases impacting revenue</a:t>
            </a:r>
          </a:p>
        </p:txBody>
      </p:sp>
    </p:spTree>
    <p:extLst>
      <p:ext uri="{BB962C8B-B14F-4D97-AF65-F5344CB8AC3E}">
        <p14:creationId xmlns:p14="http://schemas.microsoft.com/office/powerpoint/2010/main" val="243641986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741FC3-23C3-E12C-3CA2-BBB3D5C86F2B}"/>
            </a:ext>
          </a:extLst>
        </p:cNvPr>
        <p:cNvGrpSpPr/>
        <p:nvPr/>
      </p:nvGrpSpPr>
      <p:grpSpPr>
        <a:xfrm>
          <a:off x="0" y="0"/>
          <a:ext cx="0" cy="0"/>
          <a:chOff x="0" y="0"/>
          <a:chExt cx="0" cy="0"/>
        </a:xfrm>
      </p:grpSpPr>
      <p:sp>
        <p:nvSpPr>
          <p:cNvPr id="22" name="Picture Placeholder 21">
            <a:extLst>
              <a:ext uri="{FF2B5EF4-FFF2-40B4-BE49-F238E27FC236}">
                <a16:creationId xmlns:a16="http://schemas.microsoft.com/office/drawing/2014/main" id="{228014D1-4BBB-7596-7BB2-1ACC3CF892A3}"/>
              </a:ext>
            </a:extLst>
          </p:cNvPr>
          <p:cNvSpPr>
            <a:spLocks noGrp="1"/>
          </p:cNvSpPr>
          <p:nvPr>
            <p:ph type="pic" sz="quarter" idx="18"/>
          </p:nvPr>
        </p:nvSpPr>
        <p:spPr/>
        <p:txBody>
          <a:bodyPr/>
          <a:lstStyle/>
          <a:p>
            <a:endParaRPr lang="da-DK"/>
          </a:p>
        </p:txBody>
      </p:sp>
      <p:graphicFrame>
        <p:nvGraphicFramePr>
          <p:cNvPr id="5" name="Object 4" hidden="1">
            <a:extLst>
              <a:ext uri="{FF2B5EF4-FFF2-40B4-BE49-F238E27FC236}">
                <a16:creationId xmlns:a16="http://schemas.microsoft.com/office/drawing/2014/main" id="{143F9707-3B64-72C7-17AA-2222D3F8B8D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8" imgH="278" progId="TCLayout.ActiveDocument.1">
                  <p:embed/>
                </p:oleObj>
              </mc:Choice>
              <mc:Fallback>
                <p:oleObj name="think-cell Slide" r:id="rId4" imgW="278" imgH="278" progId="TCLayout.ActiveDocument.1">
                  <p:embed/>
                  <p:pic>
                    <p:nvPicPr>
                      <p:cNvPr id="5" name="Object 4" hidden="1">
                        <a:extLst>
                          <a:ext uri="{FF2B5EF4-FFF2-40B4-BE49-F238E27FC236}">
                            <a16:creationId xmlns:a16="http://schemas.microsoft.com/office/drawing/2014/main" id="{1C8EB46E-754D-4239-8498-640983F9545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ABEC3EEA-A01D-A0DC-6885-CEEC6BAF0CDE}"/>
              </a:ext>
            </a:extLst>
          </p:cNvPr>
          <p:cNvSpPr/>
          <p:nvPr>
            <p:custDataLst>
              <p:tags r:id="rId2"/>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da-DK" sz="2400" dirty="0">
              <a:solidFill>
                <a:schemeClr val="bg1"/>
              </a:solidFill>
              <a:latin typeface="DFDS Bold" panose="00000800000000000000" pitchFamily="2" charset="0"/>
              <a:ea typeface="+mj-ea"/>
              <a:cs typeface="+mj-cs"/>
              <a:sym typeface="DFDS Bold" panose="00000800000000000000" pitchFamily="2" charset="0"/>
            </a:endParaRPr>
          </a:p>
        </p:txBody>
      </p:sp>
      <p:sp>
        <p:nvSpPr>
          <p:cNvPr id="8" name="Rectangle 4">
            <a:extLst>
              <a:ext uri="{FF2B5EF4-FFF2-40B4-BE49-F238E27FC236}">
                <a16:creationId xmlns:a16="http://schemas.microsoft.com/office/drawing/2014/main" id="{B63A7610-9818-A6AF-340E-F0760797EC36}"/>
              </a:ext>
            </a:extLst>
          </p:cNvPr>
          <p:cNvSpPr txBox="1">
            <a:spLocks noChangeArrowheads="1"/>
          </p:cNvSpPr>
          <p:nvPr/>
        </p:nvSpPr>
        <p:spPr>
          <a:xfrm>
            <a:off x="278505" y="277428"/>
            <a:ext cx="5726394" cy="785812"/>
          </a:xfrm>
          <a:prstGeom prst="rect">
            <a:avLst/>
          </a:prstGeom>
        </p:spPr>
        <p:txBody>
          <a:bodyPr vert="horz" wrap="square" lIns="0" tIns="0" rIns="0" bIns="0" rtlCol="0" anchor="t">
            <a:noAutofit/>
          </a:bodyPr>
          <a:lstStyle>
            <a:lvl1pPr>
              <a:lnSpc>
                <a:spcPct val="90000"/>
              </a:lnSpc>
              <a:spcBef>
                <a:spcPct val="0"/>
              </a:spcBef>
              <a:buNone/>
              <a:defRPr sz="2800">
                <a:solidFill>
                  <a:schemeClr val="accent1"/>
                </a:solidFill>
                <a:latin typeface="+mj-lt"/>
                <a:ea typeface="+mj-ea"/>
                <a:cs typeface="+mj-cs"/>
              </a:defRPr>
            </a:lvl1pPr>
          </a:lstStyle>
          <a:p>
            <a:r>
              <a:rPr lang="da-DK" sz="3200"/>
              <a:t>EBIT lower in both divisions</a:t>
            </a:r>
            <a:endParaRPr lang="en-US" sz="3200" dirty="0"/>
          </a:p>
        </p:txBody>
      </p:sp>
      <p:sp>
        <p:nvSpPr>
          <p:cNvPr id="10" name="TextBox 8">
            <a:extLst>
              <a:ext uri="{FF2B5EF4-FFF2-40B4-BE49-F238E27FC236}">
                <a16:creationId xmlns:a16="http://schemas.microsoft.com/office/drawing/2014/main" id="{5AE602E0-B11D-5BDD-6BB2-FC50AB0F6939}"/>
              </a:ext>
            </a:extLst>
          </p:cNvPr>
          <p:cNvSpPr txBox="1">
            <a:spLocks noChangeArrowheads="1"/>
          </p:cNvSpPr>
          <p:nvPr/>
        </p:nvSpPr>
        <p:spPr bwMode="auto">
          <a:xfrm>
            <a:off x="11501438" y="1285875"/>
            <a:ext cx="1847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atin typeface="DFDS Light" panose="02000300000000020000" pitchFamily="2" charset="0"/>
            </a:endParaRPr>
          </a:p>
        </p:txBody>
      </p:sp>
      <p:sp>
        <p:nvSpPr>
          <p:cNvPr id="3" name="Slide Number Placeholder 1">
            <a:extLst>
              <a:ext uri="{FF2B5EF4-FFF2-40B4-BE49-F238E27FC236}">
                <a16:creationId xmlns:a16="http://schemas.microsoft.com/office/drawing/2014/main" id="{5EDCE841-EDF8-2A7E-02D2-2865B4C94A4D}"/>
              </a:ext>
            </a:extLst>
          </p:cNvPr>
          <p:cNvSpPr txBox="1">
            <a:spLocks/>
          </p:cNvSpPr>
          <p:nvPr/>
        </p:nvSpPr>
        <p:spPr>
          <a:xfrm>
            <a:off x="269875" y="6431279"/>
            <a:ext cx="482600" cy="155259"/>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6BB336-FA68-49FA-BBEA-E8420972406D}" type="slidenum">
              <a:rPr lang="en-GB" sz="800" smtClean="0"/>
              <a:pPr/>
              <a:t>11</a:t>
            </a:fld>
            <a:endParaRPr lang="en-GB" sz="800"/>
          </a:p>
        </p:txBody>
      </p:sp>
      <p:sp>
        <p:nvSpPr>
          <p:cNvPr id="4" name="Content Placeholder 7">
            <a:extLst>
              <a:ext uri="{FF2B5EF4-FFF2-40B4-BE49-F238E27FC236}">
                <a16:creationId xmlns:a16="http://schemas.microsoft.com/office/drawing/2014/main" id="{ED21EE69-97AB-C1B7-D94A-0A1FFF56AB3A}"/>
              </a:ext>
            </a:extLst>
          </p:cNvPr>
          <p:cNvSpPr txBox="1">
            <a:spLocks/>
          </p:cNvSpPr>
          <p:nvPr/>
        </p:nvSpPr>
        <p:spPr bwMode="auto">
          <a:xfrm>
            <a:off x="283487" y="1355907"/>
            <a:ext cx="5130430" cy="3924300"/>
          </a:xfrm>
          <a:prstGeom prst="rect">
            <a:avLst/>
          </a:prstGeom>
          <a:noFill/>
          <a:ln w="9525">
            <a:noFill/>
            <a:miter lim="800000"/>
            <a:headEnd/>
            <a:tailEnd/>
          </a:ln>
        </p:spPr>
        <p:txBody>
          <a:bodyPr lIns="0" tIns="0" rIns="0" bIns="0"/>
          <a:lstStyle/>
          <a:p>
            <a:pPr marL="180969" indent="-180969">
              <a:buFont typeface="Arial" pitchFamily="34" charset="0"/>
              <a:buChar char="•"/>
              <a:defRPr/>
            </a:pPr>
            <a:r>
              <a:rPr lang="da-DK" b="1" dirty="0">
                <a:highlight>
                  <a:srgbClr val="FFFFFF"/>
                </a:highlight>
                <a:latin typeface="DFDS Sans Offc" panose="00000500000000000000" pitchFamily="2" charset="0"/>
              </a:rPr>
              <a:t>FY EBIT </a:t>
            </a:r>
            <a:r>
              <a:rPr lang="da-DK" dirty="0" err="1">
                <a:highlight>
                  <a:srgbClr val="FFFFFF"/>
                </a:highlight>
                <a:latin typeface="DFDS Sans Offc" panose="00000500000000000000" pitchFamily="2" charset="0"/>
              </a:rPr>
              <a:t>decreased</a:t>
            </a:r>
            <a:r>
              <a:rPr lang="da-DK" dirty="0">
                <a:highlight>
                  <a:srgbClr val="FFFFFF"/>
                </a:highlight>
                <a:latin typeface="DFDS Sans Offc" panose="00000500000000000000" pitchFamily="2" charset="0"/>
              </a:rPr>
              <a:t> 35% to DKK 1.5bn</a:t>
            </a:r>
          </a:p>
          <a:p>
            <a:pPr marL="180969" indent="-180969">
              <a:buFont typeface="Arial" pitchFamily="34" charset="0"/>
              <a:buChar char="•"/>
              <a:defRPr/>
            </a:pPr>
            <a:endParaRPr lang="da-DK" dirty="0">
              <a:highlight>
                <a:srgbClr val="FFFFFF"/>
              </a:highlight>
              <a:latin typeface="DFDS Sans Offc" panose="00000500000000000000" pitchFamily="2" charset="0"/>
            </a:endParaRPr>
          </a:p>
          <a:p>
            <a:pPr marL="180969" indent="-180969">
              <a:buFont typeface="Arial" pitchFamily="34" charset="0"/>
              <a:buChar char="•"/>
              <a:defRPr/>
            </a:pPr>
            <a:r>
              <a:rPr lang="da-DK" b="1" dirty="0">
                <a:highlight>
                  <a:srgbClr val="FFFFFF"/>
                </a:highlight>
                <a:latin typeface="DFDS Sans Offc" panose="00000500000000000000" pitchFamily="2" charset="0"/>
              </a:rPr>
              <a:t>Ferry</a:t>
            </a:r>
            <a:r>
              <a:rPr lang="da-DK" dirty="0">
                <a:highlight>
                  <a:srgbClr val="FFFFFF"/>
                </a:highlight>
                <a:latin typeface="DFDS Sans Offc" panose="00000500000000000000" pitchFamily="2" charset="0"/>
              </a:rPr>
              <a:t> EBIT down DKK 574m or 27% to</a:t>
            </a:r>
            <a:br>
              <a:rPr lang="da-DK" dirty="0">
                <a:highlight>
                  <a:srgbClr val="FFFFFF"/>
                </a:highlight>
                <a:latin typeface="DFDS Sans Offc" panose="00000500000000000000" pitchFamily="2" charset="0"/>
              </a:rPr>
            </a:br>
            <a:r>
              <a:rPr lang="da-DK" dirty="0">
                <a:highlight>
                  <a:srgbClr val="FFFFFF"/>
                </a:highlight>
                <a:latin typeface="DFDS Sans Offc" panose="00000500000000000000" pitchFamily="2" charset="0"/>
              </a:rPr>
              <a:t>DKK 1.5bn driven by lower </a:t>
            </a:r>
            <a:r>
              <a:rPr lang="da-DK" dirty="0" err="1">
                <a:highlight>
                  <a:srgbClr val="FFFFFF"/>
                </a:highlight>
                <a:latin typeface="DFDS Sans Offc" panose="00000500000000000000" pitchFamily="2" charset="0"/>
              </a:rPr>
              <a:t>Mediterranean</a:t>
            </a:r>
            <a:r>
              <a:rPr lang="da-DK" dirty="0">
                <a:highlight>
                  <a:srgbClr val="FFFFFF"/>
                </a:highlight>
                <a:latin typeface="DFDS Sans Offc" panose="00000500000000000000" pitchFamily="2" charset="0"/>
              </a:rPr>
              <a:t> </a:t>
            </a:r>
            <a:r>
              <a:rPr lang="da-DK" dirty="0" err="1">
                <a:highlight>
                  <a:srgbClr val="FFFFFF"/>
                </a:highlight>
                <a:latin typeface="DFDS Sans Offc" panose="00000500000000000000" pitchFamily="2" charset="0"/>
              </a:rPr>
              <a:t>result</a:t>
            </a:r>
            <a:r>
              <a:rPr lang="da-DK" dirty="0">
                <a:highlight>
                  <a:srgbClr val="FFFFFF"/>
                </a:highlight>
                <a:latin typeface="DFDS Sans Offc" panose="00000500000000000000" pitchFamily="2" charset="0"/>
              </a:rPr>
              <a:t>, </a:t>
            </a:r>
            <a:r>
              <a:rPr lang="da-DK" dirty="0" err="1">
                <a:highlight>
                  <a:srgbClr val="FFFFFF"/>
                </a:highlight>
                <a:latin typeface="DFDS Sans Offc" panose="00000500000000000000" pitchFamily="2" charset="0"/>
              </a:rPr>
              <a:t>oil</a:t>
            </a:r>
            <a:r>
              <a:rPr lang="da-DK" dirty="0">
                <a:highlight>
                  <a:srgbClr val="FFFFFF"/>
                </a:highlight>
                <a:latin typeface="DFDS Sans Offc" panose="00000500000000000000" pitchFamily="2" charset="0"/>
              </a:rPr>
              <a:t> </a:t>
            </a:r>
            <a:r>
              <a:rPr lang="da-DK" dirty="0" err="1">
                <a:highlight>
                  <a:srgbClr val="FFFFFF"/>
                </a:highlight>
                <a:latin typeface="DFDS Sans Offc" panose="00000500000000000000" pitchFamily="2" charset="0"/>
              </a:rPr>
              <a:t>spread</a:t>
            </a:r>
            <a:r>
              <a:rPr lang="da-DK" dirty="0">
                <a:highlight>
                  <a:srgbClr val="FFFFFF"/>
                </a:highlight>
                <a:latin typeface="DFDS Sans Offc" panose="00000500000000000000" pitchFamily="2" charset="0"/>
              </a:rPr>
              <a:t> </a:t>
            </a:r>
            <a:r>
              <a:rPr lang="da-DK" dirty="0" err="1">
                <a:highlight>
                  <a:srgbClr val="FFFFFF"/>
                </a:highlight>
                <a:latin typeface="DFDS Sans Offc" panose="00000500000000000000" pitchFamily="2" charset="0"/>
              </a:rPr>
              <a:t>decrease</a:t>
            </a:r>
            <a:r>
              <a:rPr lang="da-DK" dirty="0">
                <a:highlight>
                  <a:srgbClr val="FFFFFF"/>
                </a:highlight>
                <a:latin typeface="DFDS Sans Offc" panose="00000500000000000000" pitchFamily="2" charset="0"/>
              </a:rPr>
              <a:t>, and one-off gain in 2023</a:t>
            </a:r>
          </a:p>
          <a:p>
            <a:pPr marL="180969" indent="-180969">
              <a:buFont typeface="Arial" pitchFamily="34" charset="0"/>
              <a:buChar char="•"/>
              <a:defRPr/>
            </a:pPr>
            <a:endParaRPr lang="da-DK" sz="1400" dirty="0">
              <a:highlight>
                <a:srgbClr val="FFFFFF"/>
              </a:highlight>
              <a:latin typeface="DFDS Sans Offc" panose="00000500000000000000" pitchFamily="2" charset="0"/>
            </a:endParaRPr>
          </a:p>
          <a:p>
            <a:pPr marL="180969" indent="-180969">
              <a:buFont typeface="Arial" pitchFamily="34" charset="0"/>
              <a:buChar char="•"/>
              <a:defRPr/>
            </a:pPr>
            <a:r>
              <a:rPr lang="da-DK" dirty="0">
                <a:highlight>
                  <a:srgbClr val="FFFFFF"/>
                </a:highlight>
                <a:latin typeface="DFDS Sans Offc" panose="00000500000000000000" pitchFamily="2" charset="0"/>
              </a:rPr>
              <a:t>Positive </a:t>
            </a:r>
            <a:r>
              <a:rPr lang="da-DK" dirty="0" err="1">
                <a:highlight>
                  <a:srgbClr val="FFFFFF"/>
                </a:highlight>
                <a:latin typeface="DFDS Sans Offc" panose="00000500000000000000" pitchFamily="2" charset="0"/>
              </a:rPr>
              <a:t>development</a:t>
            </a:r>
            <a:r>
              <a:rPr lang="da-DK" dirty="0">
                <a:highlight>
                  <a:srgbClr val="FFFFFF"/>
                </a:highlight>
                <a:latin typeface="DFDS Sans Offc" panose="00000500000000000000" pitchFamily="2" charset="0"/>
              </a:rPr>
              <a:t> by Channel, </a:t>
            </a:r>
            <a:r>
              <a:rPr lang="da-DK" dirty="0" err="1">
                <a:highlight>
                  <a:srgbClr val="FFFFFF"/>
                </a:highlight>
                <a:latin typeface="DFDS Sans Offc" panose="00000500000000000000" pitchFamily="2" charset="0"/>
              </a:rPr>
              <a:t>Strait</a:t>
            </a:r>
            <a:r>
              <a:rPr lang="da-DK" dirty="0">
                <a:highlight>
                  <a:srgbClr val="FFFFFF"/>
                </a:highlight>
                <a:latin typeface="DFDS Sans Offc" panose="00000500000000000000" pitchFamily="2" charset="0"/>
              </a:rPr>
              <a:t> of Gibraltar, and </a:t>
            </a:r>
            <a:r>
              <a:rPr lang="da-DK" dirty="0" err="1">
                <a:highlight>
                  <a:srgbClr val="FFFFFF"/>
                </a:highlight>
                <a:latin typeface="DFDS Sans Offc" panose="00000500000000000000" pitchFamily="2" charset="0"/>
              </a:rPr>
              <a:t>Passenger</a:t>
            </a:r>
            <a:endParaRPr lang="da-DK" dirty="0">
              <a:highlight>
                <a:srgbClr val="FFFFFF"/>
              </a:highlight>
              <a:latin typeface="DFDS Sans Offc" panose="00000500000000000000" pitchFamily="2" charset="0"/>
            </a:endParaRPr>
          </a:p>
          <a:p>
            <a:pPr marL="180969" indent="-180969">
              <a:buFont typeface="Arial" pitchFamily="34" charset="0"/>
              <a:buChar char="•"/>
              <a:defRPr/>
            </a:pPr>
            <a:endParaRPr lang="da-DK" sz="1400" b="1" dirty="0">
              <a:highlight>
                <a:srgbClr val="FFFFFF"/>
              </a:highlight>
              <a:latin typeface="DFDS Sans Offc" panose="00000500000000000000" pitchFamily="2" charset="0"/>
            </a:endParaRPr>
          </a:p>
          <a:p>
            <a:pPr marL="180969" indent="-180969">
              <a:buFont typeface="Arial" pitchFamily="34" charset="0"/>
              <a:buChar char="•"/>
              <a:defRPr/>
            </a:pPr>
            <a:r>
              <a:rPr lang="da-DK" b="1" dirty="0">
                <a:highlight>
                  <a:srgbClr val="FFFFFF"/>
                </a:highlight>
                <a:latin typeface="DFDS Sans Offc" panose="00000500000000000000" pitchFamily="2" charset="0"/>
              </a:rPr>
              <a:t>Logistics</a:t>
            </a:r>
            <a:r>
              <a:rPr lang="da-DK" dirty="0">
                <a:highlight>
                  <a:srgbClr val="FFFFFF"/>
                </a:highlight>
                <a:latin typeface="DFDS Sans Offc" panose="00000500000000000000" pitchFamily="2" charset="0"/>
              </a:rPr>
              <a:t> EBIT </a:t>
            </a:r>
            <a:r>
              <a:rPr lang="da-DK" dirty="0" err="1">
                <a:highlight>
                  <a:srgbClr val="FFFFFF"/>
                </a:highlight>
                <a:latin typeface="DFDS Sans Offc" panose="00000500000000000000" pitchFamily="2" charset="0"/>
              </a:rPr>
              <a:t>down</a:t>
            </a:r>
            <a:r>
              <a:rPr lang="da-DK" dirty="0">
                <a:highlight>
                  <a:srgbClr val="FFFFFF"/>
                </a:highlight>
                <a:latin typeface="DFDS Sans Offc" panose="00000500000000000000" pitchFamily="2" charset="0"/>
              </a:rPr>
              <a:t> DKK 269m or 57% to DKK 200m driven by </a:t>
            </a:r>
            <a:r>
              <a:rPr lang="da-DK" dirty="0" err="1">
                <a:highlight>
                  <a:srgbClr val="FFFFFF"/>
                </a:highlight>
                <a:latin typeface="DFDS Sans Offc" panose="00000500000000000000" pitchFamily="2" charset="0"/>
              </a:rPr>
              <a:t>market</a:t>
            </a:r>
            <a:r>
              <a:rPr lang="da-DK" dirty="0">
                <a:highlight>
                  <a:srgbClr val="FFFFFF"/>
                </a:highlight>
                <a:latin typeface="DFDS Sans Offc" panose="00000500000000000000" pitchFamily="2" charset="0"/>
              </a:rPr>
              <a:t> </a:t>
            </a:r>
            <a:r>
              <a:rPr lang="da-DK" dirty="0" err="1">
                <a:highlight>
                  <a:srgbClr val="FFFFFF"/>
                </a:highlight>
                <a:latin typeface="DFDS Sans Offc" panose="00000500000000000000" pitchFamily="2" charset="0"/>
              </a:rPr>
              <a:t>headwinds</a:t>
            </a:r>
            <a:r>
              <a:rPr lang="da-DK" dirty="0">
                <a:highlight>
                  <a:srgbClr val="FFFFFF"/>
                </a:highlight>
                <a:latin typeface="DFDS Sans Offc" panose="00000500000000000000" pitchFamily="2" charset="0"/>
              </a:rPr>
              <a:t> and underperformance</a:t>
            </a:r>
          </a:p>
          <a:p>
            <a:pPr marL="180969" indent="-180969">
              <a:buFont typeface="Arial" pitchFamily="34" charset="0"/>
              <a:buChar char="•"/>
              <a:defRPr/>
            </a:pPr>
            <a:endParaRPr lang="en-GB" sz="1400" dirty="0">
              <a:highlight>
                <a:srgbClr val="FFFFFF"/>
              </a:highlight>
              <a:latin typeface="DFDS Sans Offc" panose="00000500000000000000" pitchFamily="2" charset="0"/>
            </a:endParaRPr>
          </a:p>
          <a:p>
            <a:pPr marL="180969" indent="-180969">
              <a:buFont typeface="Arial" pitchFamily="34" charset="0"/>
              <a:buChar char="•"/>
              <a:defRPr/>
            </a:pPr>
            <a:r>
              <a:rPr lang="en-GB" dirty="0">
                <a:highlight>
                  <a:srgbClr val="FFFFFF"/>
                </a:highlight>
                <a:latin typeface="DFDS Sans Offc" panose="00000500000000000000" pitchFamily="2" charset="0"/>
              </a:rPr>
              <a:t>UK &amp; Ireland result level robust</a:t>
            </a:r>
          </a:p>
          <a:p>
            <a:pPr marL="180969" indent="-180969">
              <a:buFont typeface="Arial" pitchFamily="34" charset="0"/>
              <a:buChar char="•"/>
              <a:defRPr/>
            </a:pPr>
            <a:endParaRPr lang="en-GB" sz="1400" dirty="0">
              <a:highlight>
                <a:srgbClr val="FFFFFF"/>
              </a:highlight>
              <a:latin typeface="DFDS Sans Offc" panose="00000500000000000000" pitchFamily="2" charset="0"/>
            </a:endParaRPr>
          </a:p>
          <a:p>
            <a:pPr marL="180969" indent="-180969">
              <a:buFont typeface="Arial" pitchFamily="34" charset="0"/>
              <a:buChar char="•"/>
              <a:defRPr/>
            </a:pPr>
            <a:r>
              <a:rPr lang="en-GB" dirty="0">
                <a:highlight>
                  <a:srgbClr val="FFFFFF"/>
                </a:highlight>
                <a:latin typeface="DFDS Sans Offc" panose="00000500000000000000" pitchFamily="2" charset="0"/>
              </a:rPr>
              <a:t>Nordic &amp; Continent impacted by slowdown in road transport, Baltic region, automotive, and Brexit phase 3</a:t>
            </a:r>
            <a:endParaRPr lang="da-DK" dirty="0">
              <a:highlight>
                <a:srgbClr val="FFFFFF"/>
              </a:highlight>
              <a:latin typeface="DFDS Sans Offc" panose="00000500000000000000" pitchFamily="2" charset="0"/>
            </a:endParaRPr>
          </a:p>
        </p:txBody>
      </p:sp>
      <p:graphicFrame>
        <p:nvGraphicFramePr>
          <p:cNvPr id="7" name="Chart 6">
            <a:extLst>
              <a:ext uri="{FF2B5EF4-FFF2-40B4-BE49-F238E27FC236}">
                <a16:creationId xmlns:a16="http://schemas.microsoft.com/office/drawing/2014/main" id="{7BDE6164-CF8D-4B43-B050-DFE239B836DC}"/>
              </a:ext>
            </a:extLst>
          </p:cNvPr>
          <p:cNvGraphicFramePr>
            <a:graphicFrameLocks/>
          </p:cNvGraphicFramePr>
          <p:nvPr>
            <p:extLst>
              <p:ext uri="{D42A27DB-BD31-4B8C-83A1-F6EECF244321}">
                <p14:modId xmlns:p14="http://schemas.microsoft.com/office/powerpoint/2010/main" val="1305313840"/>
              </p:ext>
            </p:extLst>
          </p:nvPr>
        </p:nvGraphicFramePr>
        <p:xfrm>
          <a:off x="6368937" y="220436"/>
          <a:ext cx="5746074" cy="302751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1" name="Chart 10">
            <a:extLst>
              <a:ext uri="{FF2B5EF4-FFF2-40B4-BE49-F238E27FC236}">
                <a16:creationId xmlns:a16="http://schemas.microsoft.com/office/drawing/2014/main" id="{9FCEB69B-07F3-484A-BDF8-EF77DFE3D9C5}"/>
              </a:ext>
            </a:extLst>
          </p:cNvPr>
          <p:cNvGraphicFramePr>
            <a:graphicFrameLocks/>
          </p:cNvGraphicFramePr>
          <p:nvPr>
            <p:extLst>
              <p:ext uri="{D42A27DB-BD31-4B8C-83A1-F6EECF244321}">
                <p14:modId xmlns:p14="http://schemas.microsoft.com/office/powerpoint/2010/main" val="844890432"/>
              </p:ext>
            </p:extLst>
          </p:nvPr>
        </p:nvGraphicFramePr>
        <p:xfrm>
          <a:off x="6368937" y="3649436"/>
          <a:ext cx="5746074" cy="2861092"/>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50829269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E2AA72-304B-C135-5CAA-2418E40B895B}"/>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E96DBB6-6859-1707-9BAA-952D9AB75FF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8" imgH="278" progId="TCLayout.ActiveDocument.1">
                  <p:embed/>
                </p:oleObj>
              </mc:Choice>
              <mc:Fallback>
                <p:oleObj name="think-cell Slide" r:id="rId4" imgW="278" imgH="278" progId="TCLayout.ActiveDocument.1">
                  <p:embed/>
                  <p:pic>
                    <p:nvPicPr>
                      <p:cNvPr id="5" name="Object 4" hidden="1">
                        <a:extLst>
                          <a:ext uri="{FF2B5EF4-FFF2-40B4-BE49-F238E27FC236}">
                            <a16:creationId xmlns:a16="http://schemas.microsoft.com/office/drawing/2014/main" id="{1C8EB46E-754D-4239-8498-640983F9545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8B128C2C-2B5A-AB2C-A78E-C3B524A5BC99}"/>
              </a:ext>
            </a:extLst>
          </p:cNvPr>
          <p:cNvSpPr/>
          <p:nvPr>
            <p:custDataLst>
              <p:tags r:id="rId2"/>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da-DK" sz="2400" dirty="0">
              <a:solidFill>
                <a:schemeClr val="bg1"/>
              </a:solidFill>
              <a:latin typeface="DFDS Bold" panose="00000800000000000000" pitchFamily="2" charset="0"/>
              <a:ea typeface="+mj-ea"/>
              <a:cs typeface="+mj-cs"/>
              <a:sym typeface="DFDS Bold" panose="00000800000000000000" pitchFamily="2" charset="0"/>
            </a:endParaRPr>
          </a:p>
        </p:txBody>
      </p:sp>
      <p:sp>
        <p:nvSpPr>
          <p:cNvPr id="15" name="Rectangle 4">
            <a:extLst>
              <a:ext uri="{FF2B5EF4-FFF2-40B4-BE49-F238E27FC236}">
                <a16:creationId xmlns:a16="http://schemas.microsoft.com/office/drawing/2014/main" id="{E4F1F5F0-B3A0-7935-12EA-2FDF6580B48C}"/>
              </a:ext>
            </a:extLst>
          </p:cNvPr>
          <p:cNvSpPr txBox="1">
            <a:spLocks noChangeArrowheads="1"/>
          </p:cNvSpPr>
          <p:nvPr/>
        </p:nvSpPr>
        <p:spPr>
          <a:xfrm>
            <a:off x="278652" y="276719"/>
            <a:ext cx="9303618" cy="785812"/>
          </a:xfrm>
          <a:prstGeom prst="rect">
            <a:avLst/>
          </a:prstGeom>
        </p:spPr>
        <p:txBody>
          <a:bodyPr vert="horz" wrap="square" lIns="0" tIns="0" rIns="0" bIns="0" rtlCol="0" anchor="ctr">
            <a:noAutofit/>
          </a:bodyPr>
          <a:lstStyle>
            <a:defPPr>
              <a:defRPr lang="en-US"/>
            </a:defPPr>
            <a:lvl1pPr>
              <a:lnSpc>
                <a:spcPct val="90000"/>
              </a:lnSpc>
              <a:spcBef>
                <a:spcPct val="0"/>
              </a:spcBef>
              <a:buNone/>
              <a:defRPr sz="2800">
                <a:solidFill>
                  <a:schemeClr val="accent1"/>
                </a:solidFill>
                <a:latin typeface="+mj-lt"/>
                <a:ea typeface="+mj-ea"/>
                <a:cs typeface="+mj-cs"/>
              </a:defRPr>
            </a:lvl1pPr>
          </a:lstStyle>
          <a:p>
            <a:r>
              <a:rPr lang="da-DK" sz="3200"/>
              <a:t>Full-year 2024 income statement </a:t>
            </a:r>
          </a:p>
          <a:p>
            <a:endParaRPr lang="en-US" sz="3200" dirty="0"/>
          </a:p>
        </p:txBody>
      </p:sp>
      <p:sp>
        <p:nvSpPr>
          <p:cNvPr id="25" name="TextBox 8">
            <a:extLst>
              <a:ext uri="{FF2B5EF4-FFF2-40B4-BE49-F238E27FC236}">
                <a16:creationId xmlns:a16="http://schemas.microsoft.com/office/drawing/2014/main" id="{9DCF1CCF-9D25-E074-82ED-029BB4A41221}"/>
              </a:ext>
            </a:extLst>
          </p:cNvPr>
          <p:cNvSpPr txBox="1">
            <a:spLocks noChangeArrowheads="1"/>
          </p:cNvSpPr>
          <p:nvPr/>
        </p:nvSpPr>
        <p:spPr bwMode="auto">
          <a:xfrm>
            <a:off x="11501438" y="1285875"/>
            <a:ext cx="1847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atin typeface="DFDS Light" panose="02000300000000020000" pitchFamily="2" charset="0"/>
            </a:endParaRPr>
          </a:p>
        </p:txBody>
      </p:sp>
      <p:sp>
        <p:nvSpPr>
          <p:cNvPr id="26" name="Content Placeholder 7">
            <a:extLst>
              <a:ext uri="{FF2B5EF4-FFF2-40B4-BE49-F238E27FC236}">
                <a16:creationId xmlns:a16="http://schemas.microsoft.com/office/drawing/2014/main" id="{3AF4A506-D23B-3C1C-FB38-80A7FF25E84B}"/>
              </a:ext>
            </a:extLst>
          </p:cNvPr>
          <p:cNvSpPr txBox="1">
            <a:spLocks/>
          </p:cNvSpPr>
          <p:nvPr/>
        </p:nvSpPr>
        <p:spPr bwMode="auto">
          <a:xfrm>
            <a:off x="275622" y="1848713"/>
            <a:ext cx="4931998" cy="392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80975" indent="-180975">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buFont typeface="Arial" panose="020B0604020202020204" pitchFamily="34" charset="0"/>
              <a:buChar char="•"/>
            </a:pPr>
            <a:r>
              <a:rPr lang="da-DK" b="1" dirty="0">
                <a:latin typeface="DFDS Sans Offc" panose="00000500000000000000" pitchFamily="2" charset="0"/>
              </a:rPr>
              <a:t>EBITDA</a:t>
            </a:r>
            <a:r>
              <a:rPr lang="da-DK" dirty="0">
                <a:latin typeface="DFDS Sans Offc" panose="00000500000000000000" pitchFamily="2" charset="0"/>
              </a:rPr>
              <a:t> down 9% or DKK 449m following lower results in both divisions</a:t>
            </a:r>
          </a:p>
          <a:p>
            <a:pPr marL="0" indent="0"/>
            <a:endParaRPr lang="da-DK" dirty="0">
              <a:latin typeface="DFDS Sans Offc" panose="00000500000000000000" pitchFamily="2" charset="0"/>
            </a:endParaRPr>
          </a:p>
          <a:p>
            <a:pPr eaLnBrk="1" hangingPunct="1">
              <a:buFont typeface="Arial" panose="020B0604020202020204" pitchFamily="34" charset="0"/>
              <a:buChar char="•"/>
            </a:pPr>
            <a:r>
              <a:rPr lang="da-DK" b="1" dirty="0">
                <a:latin typeface="DFDS Sans Offc" panose="00000500000000000000" pitchFamily="2" charset="0"/>
              </a:rPr>
              <a:t>Depreciation</a:t>
            </a:r>
            <a:r>
              <a:rPr lang="da-DK" dirty="0">
                <a:latin typeface="DFDS Sans Offc" panose="00000500000000000000" pitchFamily="2" charset="0"/>
              </a:rPr>
              <a:t> up 13% or DKK 318m mainly due to organic changes</a:t>
            </a:r>
          </a:p>
          <a:p>
            <a:pPr eaLnBrk="1" hangingPunct="1">
              <a:buFont typeface="Arial" panose="020B0604020202020204" pitchFamily="34" charset="0"/>
              <a:buChar char="•"/>
            </a:pPr>
            <a:endParaRPr lang="da-DK" dirty="0">
              <a:latin typeface="DFDS Sans Offc" panose="00000500000000000000" pitchFamily="2" charset="0"/>
            </a:endParaRPr>
          </a:p>
          <a:p>
            <a:pPr eaLnBrk="1" hangingPunct="1">
              <a:buFont typeface="Arial" panose="020B0604020202020204" pitchFamily="34" charset="0"/>
              <a:buChar char="•"/>
            </a:pPr>
            <a:r>
              <a:rPr lang="da-DK" dirty="0">
                <a:latin typeface="DFDS Sans Offc" panose="00000500000000000000" pitchFamily="2" charset="0"/>
              </a:rPr>
              <a:t>Impairment reversal of DKK 32m related to sale of Oslo route</a:t>
            </a:r>
            <a:endParaRPr lang="da-DK" dirty="0">
              <a:highlight>
                <a:srgbClr val="FFFF00"/>
              </a:highlight>
              <a:latin typeface="DFDS Sans Offc" panose="00000500000000000000" pitchFamily="2" charset="0"/>
            </a:endParaRPr>
          </a:p>
          <a:p>
            <a:pPr eaLnBrk="1" hangingPunct="1">
              <a:buFont typeface="Arial" panose="020B0604020202020204" pitchFamily="34" charset="0"/>
              <a:buChar char="•"/>
            </a:pPr>
            <a:endParaRPr lang="da-DK" dirty="0">
              <a:latin typeface="DFDS Sans Offc" panose="00000500000000000000" pitchFamily="2" charset="0"/>
            </a:endParaRPr>
          </a:p>
          <a:p>
            <a:pPr>
              <a:buFont typeface="Arial" panose="020B0604020202020204" pitchFamily="34" charset="0"/>
              <a:buChar char="•"/>
            </a:pPr>
            <a:r>
              <a:rPr lang="da-DK" b="1" dirty="0">
                <a:latin typeface="DFDS Sans Offc" panose="00000500000000000000" pitchFamily="2" charset="0"/>
              </a:rPr>
              <a:t>Finance</a:t>
            </a:r>
            <a:r>
              <a:rPr lang="da-DK" dirty="0">
                <a:latin typeface="DFDS Sans Offc" panose="00000500000000000000" pitchFamily="2" charset="0"/>
              </a:rPr>
              <a:t> cost up 25% or DKK 164m driven by higher debt and interest rate levels </a:t>
            </a:r>
          </a:p>
          <a:p>
            <a:pPr>
              <a:buFont typeface="Arial" panose="020B0604020202020204" pitchFamily="34" charset="0"/>
              <a:buChar char="•"/>
            </a:pPr>
            <a:endParaRPr lang="da-DK" dirty="0">
              <a:latin typeface="DFDS Sans Offc" panose="00000500000000000000" pitchFamily="2" charset="0"/>
            </a:endParaRPr>
          </a:p>
          <a:p>
            <a:pPr>
              <a:buFont typeface="Arial" panose="020B0604020202020204" pitchFamily="34" charset="0"/>
              <a:buChar char="•"/>
            </a:pPr>
            <a:endParaRPr lang="da-DK" dirty="0">
              <a:latin typeface="DFDS Sans Offc" panose="00000500000000000000" pitchFamily="2" charset="0"/>
            </a:endParaRPr>
          </a:p>
        </p:txBody>
      </p:sp>
      <p:sp>
        <p:nvSpPr>
          <p:cNvPr id="3" name="Slide Number Placeholder 3">
            <a:extLst>
              <a:ext uri="{FF2B5EF4-FFF2-40B4-BE49-F238E27FC236}">
                <a16:creationId xmlns:a16="http://schemas.microsoft.com/office/drawing/2014/main" id="{AEF58C8C-D9EE-25B5-3A30-C94DEDBA06B0}"/>
              </a:ext>
            </a:extLst>
          </p:cNvPr>
          <p:cNvSpPr txBox="1">
            <a:spLocks/>
          </p:cNvSpPr>
          <p:nvPr/>
        </p:nvSpPr>
        <p:spPr>
          <a:xfrm>
            <a:off x="269875" y="6431279"/>
            <a:ext cx="269875" cy="180000"/>
          </a:xfrm>
          <a:prstGeom prst="rect">
            <a:avLst/>
          </a:prstGeom>
        </p:spPr>
        <p:txBody>
          <a:bodyPr r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3AA811B-2EBD-4900-905E-5BE206449611}" type="slidenum">
              <a:rPr lang="en-GB" sz="800" smtClean="0"/>
              <a:pPr/>
              <a:t>12</a:t>
            </a:fld>
            <a:endParaRPr lang="en-GB" sz="800"/>
          </a:p>
        </p:txBody>
      </p:sp>
      <p:pic>
        <p:nvPicPr>
          <p:cNvPr id="2" name="Picture 1">
            <a:extLst>
              <a:ext uri="{FF2B5EF4-FFF2-40B4-BE49-F238E27FC236}">
                <a16:creationId xmlns:a16="http://schemas.microsoft.com/office/drawing/2014/main" id="{79EECAA0-5792-111B-9115-1234486AD319}"/>
              </a:ext>
            </a:extLst>
          </p:cNvPr>
          <p:cNvPicPr>
            <a:picLocks noChangeAspect="1"/>
          </p:cNvPicPr>
          <p:nvPr/>
        </p:nvPicPr>
        <p:blipFill>
          <a:blip r:embed="rId6"/>
          <a:stretch>
            <a:fillRect/>
          </a:stretch>
        </p:blipFill>
        <p:spPr>
          <a:xfrm>
            <a:off x="7032946" y="1273526"/>
            <a:ext cx="4889990" cy="4866924"/>
          </a:xfrm>
          <a:prstGeom prst="rect">
            <a:avLst/>
          </a:prstGeom>
        </p:spPr>
      </p:pic>
    </p:spTree>
    <p:extLst>
      <p:ext uri="{BB962C8B-B14F-4D97-AF65-F5344CB8AC3E}">
        <p14:creationId xmlns:p14="http://schemas.microsoft.com/office/powerpoint/2010/main" val="39873572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84500225-B12B-BDC9-9B11-3C42454B4806}"/>
              </a:ext>
            </a:extLst>
          </p:cNvPr>
          <p:cNvSpPr>
            <a:spLocks noGrp="1"/>
          </p:cNvSpPr>
          <p:nvPr>
            <p:ph type="pic" sz="quarter" idx="18"/>
          </p:nvPr>
        </p:nvSpPr>
        <p:spPr/>
        <p:txBody>
          <a:bodyPr/>
          <a:lstStyle/>
          <a:p>
            <a:endParaRPr lang="da-DK"/>
          </a:p>
        </p:txBody>
      </p:sp>
      <p:graphicFrame>
        <p:nvGraphicFramePr>
          <p:cNvPr id="5" name="Object 4" hidden="1">
            <a:extLst>
              <a:ext uri="{FF2B5EF4-FFF2-40B4-BE49-F238E27FC236}">
                <a16:creationId xmlns:a16="http://schemas.microsoft.com/office/drawing/2014/main" id="{1C8EB46E-754D-4239-8498-640983F9545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8" imgH="278" progId="TCLayout.ActiveDocument.1">
                  <p:embed/>
                </p:oleObj>
              </mc:Choice>
              <mc:Fallback>
                <p:oleObj name="think-cell Slide" r:id="rId5" imgW="278" imgH="278" progId="TCLayout.ActiveDocument.1">
                  <p:embed/>
                  <p:pic>
                    <p:nvPicPr>
                      <p:cNvPr id="5" name="Object 4" hidden="1">
                        <a:extLst>
                          <a:ext uri="{FF2B5EF4-FFF2-40B4-BE49-F238E27FC236}">
                            <a16:creationId xmlns:a16="http://schemas.microsoft.com/office/drawing/2014/main" id="{1C8EB46E-754D-4239-8498-640983F9545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0D5AF93A-54B4-41D8-B519-B05CA4715B2E}"/>
              </a:ext>
            </a:extLst>
          </p:cNvPr>
          <p:cNvSpPr/>
          <p:nvPr>
            <p:custDataLst>
              <p:tags r:id="rId2"/>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da-DK" sz="2400" dirty="0">
              <a:solidFill>
                <a:schemeClr val="bg1"/>
              </a:solidFill>
              <a:latin typeface="DFDS Bold" panose="00000800000000000000" pitchFamily="2" charset="0"/>
              <a:ea typeface="+mj-ea"/>
              <a:cs typeface="+mj-cs"/>
              <a:sym typeface="DFDS Bold" panose="00000800000000000000" pitchFamily="2" charset="0"/>
            </a:endParaRPr>
          </a:p>
        </p:txBody>
      </p:sp>
      <p:sp>
        <p:nvSpPr>
          <p:cNvPr id="9" name="Rectangle 4">
            <a:extLst>
              <a:ext uri="{FF2B5EF4-FFF2-40B4-BE49-F238E27FC236}">
                <a16:creationId xmlns:a16="http://schemas.microsoft.com/office/drawing/2014/main" id="{1EEC98E2-258E-4638-84D5-4B0467A8DE57}"/>
              </a:ext>
            </a:extLst>
          </p:cNvPr>
          <p:cNvSpPr>
            <a:spLocks noGrp="1" noChangeArrowheads="1"/>
          </p:cNvSpPr>
          <p:nvPr>
            <p:ph type="ctrTitle"/>
          </p:nvPr>
        </p:nvSpPr>
        <p:spPr/>
        <p:txBody>
          <a:bodyPr vert="horz" wrap="square" lIns="0" tIns="0" rIns="0" bIns="0" rtlCol="0" anchor="t">
            <a:noAutofit/>
          </a:bodyPr>
          <a:lstStyle/>
          <a:p>
            <a:r>
              <a:rPr lang="da-DK" sz="3200"/>
              <a:t>Cash flows &amp; capital</a:t>
            </a:r>
            <a:br>
              <a:rPr lang="da-DK" sz="3200"/>
            </a:br>
            <a:endParaRPr lang="en-US" sz="3200" dirty="0"/>
          </a:p>
        </p:txBody>
      </p:sp>
      <p:sp>
        <p:nvSpPr>
          <p:cNvPr id="13" name="Text Placeholder 12">
            <a:extLst>
              <a:ext uri="{FF2B5EF4-FFF2-40B4-BE49-F238E27FC236}">
                <a16:creationId xmlns:a16="http://schemas.microsoft.com/office/drawing/2014/main" id="{7E185C1D-635F-9FF6-88A1-1909C17DBFB7}"/>
              </a:ext>
            </a:extLst>
          </p:cNvPr>
          <p:cNvSpPr>
            <a:spLocks noGrp="1"/>
          </p:cNvSpPr>
          <p:nvPr>
            <p:ph type="body" sz="quarter" idx="19"/>
          </p:nvPr>
        </p:nvSpPr>
        <p:spPr/>
        <p:txBody>
          <a:bodyPr/>
          <a:lstStyle/>
          <a:p>
            <a:endParaRPr lang="da-DK"/>
          </a:p>
        </p:txBody>
      </p:sp>
      <p:sp>
        <p:nvSpPr>
          <p:cNvPr id="10" name="TextBox 8">
            <a:extLst>
              <a:ext uri="{FF2B5EF4-FFF2-40B4-BE49-F238E27FC236}">
                <a16:creationId xmlns:a16="http://schemas.microsoft.com/office/drawing/2014/main" id="{0A60A5E6-11D6-4169-B7F6-C444762269EA}"/>
              </a:ext>
            </a:extLst>
          </p:cNvPr>
          <p:cNvSpPr txBox="1">
            <a:spLocks noChangeArrowheads="1"/>
          </p:cNvSpPr>
          <p:nvPr/>
        </p:nvSpPr>
        <p:spPr bwMode="auto">
          <a:xfrm>
            <a:off x="11520488" y="1285875"/>
            <a:ext cx="1847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atin typeface="DFDS Light" panose="02000300000000020000" pitchFamily="2" charset="0"/>
            </a:endParaRPr>
          </a:p>
        </p:txBody>
      </p:sp>
      <p:sp>
        <p:nvSpPr>
          <p:cNvPr id="11" name="Content Placeholder 7">
            <a:extLst>
              <a:ext uri="{FF2B5EF4-FFF2-40B4-BE49-F238E27FC236}">
                <a16:creationId xmlns:a16="http://schemas.microsoft.com/office/drawing/2014/main" id="{E67DDCC4-D16B-466B-A962-5300783D044A}"/>
              </a:ext>
            </a:extLst>
          </p:cNvPr>
          <p:cNvSpPr txBox="1">
            <a:spLocks/>
          </p:cNvSpPr>
          <p:nvPr/>
        </p:nvSpPr>
        <p:spPr bwMode="auto">
          <a:xfrm>
            <a:off x="269877" y="1667511"/>
            <a:ext cx="4686840" cy="392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80975" indent="-180975">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buFont typeface="Arial" panose="020B0604020202020204" pitchFamily="34" charset="0"/>
              <a:buChar char="•"/>
            </a:pPr>
            <a:r>
              <a:rPr lang="da-DK" b="1" dirty="0">
                <a:solidFill>
                  <a:schemeClr val="bg1"/>
                </a:solidFill>
                <a:latin typeface="DFDS Sans Offc" panose="00000500000000000000" pitchFamily="2" charset="0"/>
              </a:rPr>
              <a:t>Operating cash flow</a:t>
            </a:r>
            <a:r>
              <a:rPr lang="da-DK" dirty="0">
                <a:solidFill>
                  <a:schemeClr val="bg1"/>
                </a:solidFill>
                <a:latin typeface="DFDS Sans Offc" panose="00000500000000000000" pitchFamily="2" charset="0"/>
              </a:rPr>
              <a:t> down 7% vs 2023 to DKK 3.4bn driven by </a:t>
            </a:r>
            <a:r>
              <a:rPr lang="da-DK">
                <a:solidFill>
                  <a:schemeClr val="bg1"/>
                </a:solidFill>
                <a:latin typeface="DFDS Sans Offc" panose="00000500000000000000" pitchFamily="2" charset="0"/>
              </a:rPr>
              <a:t>lower EBITDA </a:t>
            </a:r>
            <a:r>
              <a:rPr lang="da-DK" dirty="0">
                <a:solidFill>
                  <a:schemeClr val="bg1"/>
                </a:solidFill>
                <a:latin typeface="DFDS Sans Offc" panose="00000500000000000000" pitchFamily="2" charset="0"/>
              </a:rPr>
              <a:t>and higher interest cost</a:t>
            </a:r>
          </a:p>
          <a:p>
            <a:pPr>
              <a:buFont typeface="Arial" panose="020B0604020202020204" pitchFamily="34" charset="0"/>
              <a:buChar char="•"/>
            </a:pPr>
            <a:endParaRPr lang="da-DK" dirty="0">
              <a:solidFill>
                <a:schemeClr val="bg1"/>
              </a:solidFill>
              <a:latin typeface="DFDS Sans Offc" panose="00000500000000000000" pitchFamily="2" charset="0"/>
            </a:endParaRPr>
          </a:p>
          <a:p>
            <a:pPr>
              <a:buFont typeface="Arial" panose="020B0604020202020204" pitchFamily="34" charset="0"/>
              <a:buChar char="•"/>
            </a:pPr>
            <a:r>
              <a:rPr lang="da-DK" b="1" dirty="0">
                <a:solidFill>
                  <a:schemeClr val="bg1"/>
                </a:solidFill>
                <a:latin typeface="DFDS Sans Offc" panose="00000500000000000000" pitchFamily="2" charset="0"/>
              </a:rPr>
              <a:t>Operating capex</a:t>
            </a:r>
            <a:r>
              <a:rPr lang="da-DK" dirty="0">
                <a:solidFill>
                  <a:schemeClr val="bg1"/>
                </a:solidFill>
                <a:latin typeface="DFDS Sans Offc" panose="00000500000000000000" pitchFamily="2" charset="0"/>
              </a:rPr>
              <a:t> of DKK 1.45bn</a:t>
            </a:r>
          </a:p>
          <a:p>
            <a:pPr>
              <a:buFont typeface="Arial" panose="020B0604020202020204" pitchFamily="34" charset="0"/>
              <a:buChar char="•"/>
            </a:pPr>
            <a:endParaRPr lang="da-DK" dirty="0">
              <a:solidFill>
                <a:schemeClr val="bg1"/>
              </a:solidFill>
              <a:latin typeface="DFDS Sans Offc" panose="00000500000000000000" pitchFamily="2" charset="0"/>
            </a:endParaRPr>
          </a:p>
          <a:p>
            <a:pPr>
              <a:buFont typeface="Arial" panose="020B0604020202020204" pitchFamily="34" charset="0"/>
              <a:buChar char="•"/>
            </a:pPr>
            <a:r>
              <a:rPr lang="da-DK" b="1" dirty="0">
                <a:solidFill>
                  <a:schemeClr val="bg1"/>
                </a:solidFill>
                <a:latin typeface="DFDS Sans Offc" panose="00000500000000000000" pitchFamily="2" charset="0"/>
              </a:rPr>
              <a:t>Adjusted free cash flow</a:t>
            </a:r>
            <a:r>
              <a:rPr lang="da-DK" dirty="0">
                <a:solidFill>
                  <a:schemeClr val="bg1"/>
                </a:solidFill>
                <a:latin typeface="DFDS Sans Offc" panose="00000500000000000000" pitchFamily="2" charset="0"/>
              </a:rPr>
              <a:t> of DKK 1.0bn</a:t>
            </a:r>
          </a:p>
          <a:p>
            <a:pPr>
              <a:buFont typeface="Arial" panose="020B0604020202020204" pitchFamily="34" charset="0"/>
              <a:buChar char="•"/>
            </a:pPr>
            <a:endParaRPr lang="da-DK" dirty="0">
              <a:solidFill>
                <a:schemeClr val="bg1"/>
              </a:solidFill>
              <a:latin typeface="DFDS Sans Offc" panose="00000500000000000000" pitchFamily="2" charset="0"/>
            </a:endParaRPr>
          </a:p>
          <a:p>
            <a:pPr>
              <a:buFont typeface="Arial" panose="020B0604020202020204" pitchFamily="34" charset="0"/>
              <a:buChar char="•"/>
            </a:pPr>
            <a:r>
              <a:rPr lang="da-DK" dirty="0">
                <a:solidFill>
                  <a:schemeClr val="bg1"/>
                </a:solidFill>
                <a:latin typeface="DFDS Sans Offc" panose="00000500000000000000" pitchFamily="2" charset="0"/>
              </a:rPr>
              <a:t>Operating capex and Adjusted free cash flow in 2023 included DKK 1.5bn from sale/leaseback of three freight ferries</a:t>
            </a:r>
          </a:p>
          <a:p>
            <a:pPr>
              <a:buFont typeface="Arial" panose="020B0604020202020204" pitchFamily="34" charset="0"/>
              <a:buChar char="•"/>
            </a:pPr>
            <a:endParaRPr lang="da-DK" dirty="0">
              <a:solidFill>
                <a:schemeClr val="bg1"/>
              </a:solidFill>
              <a:latin typeface="DFDS Sans Offc" panose="00000500000000000000" pitchFamily="2" charset="0"/>
            </a:endParaRPr>
          </a:p>
          <a:p>
            <a:pPr>
              <a:buFont typeface="Arial" panose="020B0604020202020204" pitchFamily="34" charset="0"/>
              <a:buChar char="•"/>
            </a:pPr>
            <a:r>
              <a:rPr lang="da-DK" b="1" dirty="0">
                <a:solidFill>
                  <a:schemeClr val="bg1"/>
                </a:solidFill>
                <a:latin typeface="DFDS Sans Offc" panose="00000500000000000000" pitchFamily="2" charset="0"/>
              </a:rPr>
              <a:t>Financial leverage</a:t>
            </a:r>
            <a:r>
              <a:rPr lang="da-DK" dirty="0">
                <a:solidFill>
                  <a:schemeClr val="bg1"/>
                </a:solidFill>
                <a:latin typeface="DFDS Sans Offc" panose="00000500000000000000" pitchFamily="2" charset="0"/>
              </a:rPr>
              <a:t>, NIBD/EBITDA, of 3.9x up from 2.9x at end 2023</a:t>
            </a:r>
          </a:p>
        </p:txBody>
      </p:sp>
      <p:sp>
        <p:nvSpPr>
          <p:cNvPr id="4" name="Slide Number Placeholder 1">
            <a:extLst>
              <a:ext uri="{FF2B5EF4-FFF2-40B4-BE49-F238E27FC236}">
                <a16:creationId xmlns:a16="http://schemas.microsoft.com/office/drawing/2014/main" id="{8DCEF33B-171F-9D93-1DF8-D99A19F4AABB}"/>
              </a:ext>
            </a:extLst>
          </p:cNvPr>
          <p:cNvSpPr txBox="1">
            <a:spLocks/>
          </p:cNvSpPr>
          <p:nvPr/>
        </p:nvSpPr>
        <p:spPr>
          <a:xfrm>
            <a:off x="234975" y="6431279"/>
            <a:ext cx="323438" cy="1800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6BB336-FA68-49FA-BBEA-E8420972406D}" type="slidenum">
              <a:rPr lang="en-GB" sz="800" smtClean="0">
                <a:solidFill>
                  <a:schemeClr val="bg1"/>
                </a:solidFill>
              </a:rPr>
              <a:pPr/>
              <a:t>13</a:t>
            </a:fld>
            <a:endParaRPr lang="en-GB" sz="800">
              <a:solidFill>
                <a:schemeClr val="bg1"/>
              </a:solidFill>
            </a:endParaRPr>
          </a:p>
        </p:txBody>
      </p:sp>
      <p:pic>
        <p:nvPicPr>
          <p:cNvPr id="14" name="Picture 13">
            <a:extLst>
              <a:ext uri="{FF2B5EF4-FFF2-40B4-BE49-F238E27FC236}">
                <a16:creationId xmlns:a16="http://schemas.microsoft.com/office/drawing/2014/main" id="{615882B3-6EAE-8474-74CA-A4165982FE93}"/>
              </a:ext>
            </a:extLst>
          </p:cNvPr>
          <p:cNvPicPr>
            <a:picLocks noChangeAspect="1"/>
          </p:cNvPicPr>
          <p:nvPr/>
        </p:nvPicPr>
        <p:blipFill>
          <a:blip r:embed="rId7"/>
          <a:stretch>
            <a:fillRect/>
          </a:stretch>
        </p:blipFill>
        <p:spPr>
          <a:xfrm>
            <a:off x="6510529" y="1274273"/>
            <a:ext cx="5410010" cy="4909730"/>
          </a:xfrm>
          <a:prstGeom prst="rect">
            <a:avLst/>
          </a:prstGeom>
        </p:spPr>
      </p:pic>
      <p:sp>
        <p:nvSpPr>
          <p:cNvPr id="12" name="Rounded Rectangle 8">
            <a:extLst>
              <a:ext uri="{FF2B5EF4-FFF2-40B4-BE49-F238E27FC236}">
                <a16:creationId xmlns:a16="http://schemas.microsoft.com/office/drawing/2014/main" id="{AA3B4213-24A1-92E9-B2C3-68C3A42A9104}"/>
              </a:ext>
            </a:extLst>
          </p:cNvPr>
          <p:cNvSpPr/>
          <p:nvPr/>
        </p:nvSpPr>
        <p:spPr>
          <a:xfrm>
            <a:off x="9978123" y="4105816"/>
            <a:ext cx="467917" cy="196717"/>
          </a:xfrm>
          <a:prstGeom prst="round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303" tIns="65303" rIns="65303" bIns="65303" numCol="1" spcCol="0" rtlCol="0" fromWordArt="0" anchor="ctr" anchorCtr="0" forceAA="0" compatLnSpc="1">
            <a:prstTxWarp prst="textNoShape">
              <a:avLst/>
            </a:prstTxWarp>
            <a:noAutofit/>
          </a:bodyPr>
          <a:lstStyle/>
          <a:p>
            <a:pPr algn="ctr"/>
            <a:endParaRPr lang="da-DK" sz="1905" dirty="0" err="1"/>
          </a:p>
        </p:txBody>
      </p:sp>
    </p:spTree>
    <p:extLst>
      <p:ext uri="{BB962C8B-B14F-4D97-AF65-F5344CB8AC3E}">
        <p14:creationId xmlns:p14="http://schemas.microsoft.com/office/powerpoint/2010/main" val="314045739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C8EB46E-754D-4239-8498-640983F9545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8" imgH="278" progId="TCLayout.ActiveDocument.1">
                  <p:embed/>
                </p:oleObj>
              </mc:Choice>
              <mc:Fallback>
                <p:oleObj name="think-cell Slide" r:id="rId4" imgW="278" imgH="278" progId="TCLayout.ActiveDocument.1">
                  <p:embed/>
                  <p:pic>
                    <p:nvPicPr>
                      <p:cNvPr id="5" name="Object 4" hidden="1">
                        <a:extLst>
                          <a:ext uri="{FF2B5EF4-FFF2-40B4-BE49-F238E27FC236}">
                            <a16:creationId xmlns:a16="http://schemas.microsoft.com/office/drawing/2014/main" id="{1C8EB46E-754D-4239-8498-640983F9545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0D5AF93A-54B4-41D8-B519-B05CA4715B2E}"/>
              </a:ext>
            </a:extLst>
          </p:cNvPr>
          <p:cNvSpPr/>
          <p:nvPr>
            <p:custDataLst>
              <p:tags r:id="rId2"/>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da-DK" sz="2400">
              <a:solidFill>
                <a:schemeClr val="bg1"/>
              </a:solidFill>
              <a:latin typeface="DFDS Bold" panose="00000800000000000000" pitchFamily="2" charset="0"/>
              <a:ea typeface="+mj-ea"/>
              <a:cs typeface="+mj-cs"/>
              <a:sym typeface="DFDS Bold" panose="00000800000000000000" pitchFamily="2" charset="0"/>
            </a:endParaRPr>
          </a:p>
        </p:txBody>
      </p:sp>
      <p:sp>
        <p:nvSpPr>
          <p:cNvPr id="3" name="Slide Number Placeholder 2">
            <a:extLst>
              <a:ext uri="{FF2B5EF4-FFF2-40B4-BE49-F238E27FC236}">
                <a16:creationId xmlns:a16="http://schemas.microsoft.com/office/drawing/2014/main" id="{33EF6948-F973-6265-9D00-D1DBCB364075}"/>
              </a:ext>
            </a:extLst>
          </p:cNvPr>
          <p:cNvSpPr>
            <a:spLocks noGrp="1"/>
          </p:cNvSpPr>
          <p:nvPr>
            <p:ph type="sldNum" sz="quarter" idx="17"/>
          </p:nvPr>
        </p:nvSpPr>
        <p:spPr/>
        <p:txBody>
          <a:bodyPr/>
          <a:lstStyle/>
          <a:p>
            <a:fld id="{23AA811B-2EBD-4900-905E-5BE206449611}" type="slidenum">
              <a:rPr lang="en-GB" smtClean="0"/>
              <a:pPr/>
              <a:t>14</a:t>
            </a:fld>
            <a:endParaRPr lang="en-GB"/>
          </a:p>
        </p:txBody>
      </p:sp>
      <p:sp>
        <p:nvSpPr>
          <p:cNvPr id="39" name="Rectangle 4">
            <a:extLst>
              <a:ext uri="{FF2B5EF4-FFF2-40B4-BE49-F238E27FC236}">
                <a16:creationId xmlns:a16="http://schemas.microsoft.com/office/drawing/2014/main" id="{C6DF9423-C3E0-4078-B910-4D21683DA3FF}"/>
              </a:ext>
            </a:extLst>
          </p:cNvPr>
          <p:cNvSpPr>
            <a:spLocks noGrp="1" noChangeArrowheads="1"/>
          </p:cNvSpPr>
          <p:nvPr>
            <p:ph type="ctrTitle"/>
          </p:nvPr>
        </p:nvSpPr>
        <p:spPr>
          <a:xfrm>
            <a:off x="269876" y="555379"/>
            <a:ext cx="4749799" cy="1416050"/>
          </a:xfrm>
        </p:spPr>
        <p:txBody>
          <a:bodyPr vert="horz" wrap="square" lIns="0" tIns="0" rIns="0" bIns="0" rtlCol="0" anchor="t">
            <a:noAutofit/>
          </a:bodyPr>
          <a:lstStyle/>
          <a:p>
            <a:r>
              <a:rPr lang="da-DK"/>
              <a:t>Moving to Green &amp; Great Place to Work</a:t>
            </a:r>
            <a:endParaRPr lang="en-US"/>
          </a:p>
        </p:txBody>
      </p:sp>
      <p:sp>
        <p:nvSpPr>
          <p:cNvPr id="41" name="TextBox 8">
            <a:extLst>
              <a:ext uri="{FF2B5EF4-FFF2-40B4-BE49-F238E27FC236}">
                <a16:creationId xmlns:a16="http://schemas.microsoft.com/office/drawing/2014/main" id="{D387D46F-34F7-48A9-A510-23DBE8B25996}"/>
              </a:ext>
            </a:extLst>
          </p:cNvPr>
          <p:cNvSpPr txBox="1">
            <a:spLocks noChangeArrowheads="1"/>
          </p:cNvSpPr>
          <p:nvPr/>
        </p:nvSpPr>
        <p:spPr bwMode="auto">
          <a:xfrm>
            <a:off x="11501438" y="1285875"/>
            <a:ext cx="1847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atin typeface="DFDS Light" panose="02000300000000020000" pitchFamily="2" charset="0"/>
            </a:endParaRPr>
          </a:p>
        </p:txBody>
      </p:sp>
      <p:sp>
        <p:nvSpPr>
          <p:cNvPr id="7" name="Subtitle 6">
            <a:extLst>
              <a:ext uri="{FF2B5EF4-FFF2-40B4-BE49-F238E27FC236}">
                <a16:creationId xmlns:a16="http://schemas.microsoft.com/office/drawing/2014/main" id="{63B9B49F-6796-9D74-1963-509B242508A4}"/>
              </a:ext>
            </a:extLst>
          </p:cNvPr>
          <p:cNvSpPr>
            <a:spLocks noGrp="1"/>
          </p:cNvSpPr>
          <p:nvPr>
            <p:ph type="subTitle" idx="1"/>
          </p:nvPr>
        </p:nvSpPr>
        <p:spPr/>
        <p:txBody>
          <a:bodyPr/>
          <a:lstStyle/>
          <a:p>
            <a:endParaRPr lang="da-DK"/>
          </a:p>
        </p:txBody>
      </p:sp>
      <p:sp>
        <p:nvSpPr>
          <p:cNvPr id="2" name="Slide Number Placeholder 1">
            <a:extLst>
              <a:ext uri="{FF2B5EF4-FFF2-40B4-BE49-F238E27FC236}">
                <a16:creationId xmlns:a16="http://schemas.microsoft.com/office/drawing/2014/main" id="{DDD063CF-DAD9-4421-C1DA-95B8722544E2}"/>
              </a:ext>
            </a:extLst>
          </p:cNvPr>
          <p:cNvSpPr txBox="1">
            <a:spLocks/>
          </p:cNvSpPr>
          <p:nvPr/>
        </p:nvSpPr>
        <p:spPr>
          <a:xfrm>
            <a:off x="234975" y="6431279"/>
            <a:ext cx="323438" cy="1800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6BB336-FA68-49FA-BBEA-E8420972406D}" type="slidenum">
              <a:rPr lang="en-GB" sz="800" smtClean="0">
                <a:solidFill>
                  <a:schemeClr val="bg1"/>
                </a:solidFill>
              </a:rPr>
              <a:pPr/>
              <a:t>14</a:t>
            </a:fld>
            <a:endParaRPr lang="en-GB" sz="800">
              <a:solidFill>
                <a:schemeClr val="bg1"/>
              </a:solidFill>
            </a:endParaRPr>
          </a:p>
        </p:txBody>
      </p:sp>
    </p:spTree>
    <p:extLst>
      <p:ext uri="{BB962C8B-B14F-4D97-AF65-F5344CB8AC3E}">
        <p14:creationId xmlns:p14="http://schemas.microsoft.com/office/powerpoint/2010/main" val="130386171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C8EB46E-754D-4239-8498-640983F9545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8" imgH="278" progId="TCLayout.ActiveDocument.1">
                  <p:embed/>
                </p:oleObj>
              </mc:Choice>
              <mc:Fallback>
                <p:oleObj name="think-cell Slide" r:id="rId4" imgW="278" imgH="278" progId="TCLayout.ActiveDocument.1">
                  <p:embed/>
                  <p:pic>
                    <p:nvPicPr>
                      <p:cNvPr id="5" name="Object 4" hidden="1">
                        <a:extLst>
                          <a:ext uri="{FF2B5EF4-FFF2-40B4-BE49-F238E27FC236}">
                            <a16:creationId xmlns:a16="http://schemas.microsoft.com/office/drawing/2014/main" id="{1C8EB46E-754D-4239-8498-640983F9545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0D5AF93A-54B4-41D8-B519-B05CA4715B2E}"/>
              </a:ext>
            </a:extLst>
          </p:cNvPr>
          <p:cNvSpPr/>
          <p:nvPr>
            <p:custDataLst>
              <p:tags r:id="rId2"/>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da-DK" sz="2400" dirty="0">
              <a:solidFill>
                <a:schemeClr val="bg1"/>
              </a:solidFill>
              <a:latin typeface="DFDS Bold" panose="00000800000000000000" pitchFamily="2" charset="0"/>
              <a:ea typeface="+mj-ea"/>
              <a:cs typeface="+mj-cs"/>
              <a:sym typeface="DFDS Bold" panose="00000800000000000000" pitchFamily="2" charset="0"/>
            </a:endParaRPr>
          </a:p>
        </p:txBody>
      </p:sp>
      <p:sp>
        <p:nvSpPr>
          <p:cNvPr id="12" name="Content Placeholder 7">
            <a:extLst>
              <a:ext uri="{FF2B5EF4-FFF2-40B4-BE49-F238E27FC236}">
                <a16:creationId xmlns:a16="http://schemas.microsoft.com/office/drawing/2014/main" id="{4DDB2048-03B5-2275-CAB7-5579A8A803E9}"/>
              </a:ext>
            </a:extLst>
          </p:cNvPr>
          <p:cNvSpPr txBox="1">
            <a:spLocks/>
          </p:cNvSpPr>
          <p:nvPr/>
        </p:nvSpPr>
        <p:spPr bwMode="auto">
          <a:xfrm>
            <a:off x="277432" y="2332661"/>
            <a:ext cx="4921609" cy="3924300"/>
          </a:xfrm>
          <a:prstGeom prst="rect">
            <a:avLst/>
          </a:prstGeom>
          <a:noFill/>
          <a:ln w="9525">
            <a:noFill/>
            <a:miter lim="800000"/>
            <a:headEnd/>
            <a:tailEnd/>
          </a:ln>
        </p:spPr>
        <p:txBody>
          <a:bodyPr lIns="0" tIns="0" rIns="0" bIns="0"/>
          <a:lstStyle/>
          <a:p>
            <a:pPr marL="180969" indent="-180969">
              <a:buFont typeface="Arial" pitchFamily="34" charset="0"/>
              <a:buChar char="•"/>
              <a:defRPr/>
            </a:pPr>
            <a:r>
              <a:rPr lang="da-DK" b="1" dirty="0">
                <a:solidFill>
                  <a:schemeClr val="bg1"/>
                </a:solidFill>
              </a:rPr>
              <a:t>Ferry CO2</a:t>
            </a:r>
            <a:r>
              <a:rPr lang="da-DK" dirty="0">
                <a:solidFill>
                  <a:schemeClr val="bg1"/>
                </a:solidFill>
              </a:rPr>
              <a:t> emission </a:t>
            </a:r>
            <a:r>
              <a:rPr lang="da-DK" dirty="0" err="1">
                <a:solidFill>
                  <a:schemeClr val="bg1"/>
                </a:solidFill>
              </a:rPr>
              <a:t>intensity</a:t>
            </a:r>
            <a:r>
              <a:rPr lang="da-DK" dirty="0">
                <a:solidFill>
                  <a:schemeClr val="bg1"/>
                </a:solidFill>
              </a:rPr>
              <a:t> </a:t>
            </a:r>
            <a:r>
              <a:rPr lang="da-DK" err="1">
                <a:solidFill>
                  <a:schemeClr val="bg1"/>
                </a:solidFill>
              </a:rPr>
              <a:t>reduced</a:t>
            </a:r>
            <a:r>
              <a:rPr lang="da-DK">
                <a:solidFill>
                  <a:schemeClr val="bg1"/>
                </a:solidFill>
              </a:rPr>
              <a:t> 5% </a:t>
            </a:r>
            <a:r>
              <a:rPr lang="da-DK" dirty="0" err="1">
                <a:solidFill>
                  <a:schemeClr val="bg1"/>
                </a:solidFill>
              </a:rPr>
              <a:t>across</a:t>
            </a:r>
            <a:r>
              <a:rPr lang="da-DK" dirty="0">
                <a:solidFill>
                  <a:schemeClr val="bg1"/>
                </a:solidFill>
              </a:rPr>
              <a:t> </a:t>
            </a:r>
            <a:r>
              <a:rPr lang="da-DK">
                <a:solidFill>
                  <a:schemeClr val="bg1"/>
                </a:solidFill>
              </a:rPr>
              <a:t>route network in 2023</a:t>
            </a:r>
          </a:p>
          <a:p>
            <a:pPr marL="180969" indent="-180969">
              <a:buFont typeface="Arial" pitchFamily="34" charset="0"/>
              <a:buChar char="•"/>
              <a:defRPr/>
            </a:pPr>
            <a:endParaRPr lang="da-DK">
              <a:solidFill>
                <a:schemeClr val="bg1"/>
              </a:solidFill>
            </a:endParaRPr>
          </a:p>
          <a:p>
            <a:pPr marL="180969" indent="-180969">
              <a:buFont typeface="Arial" pitchFamily="34" charset="0"/>
              <a:buChar char="•"/>
              <a:defRPr/>
            </a:pPr>
            <a:r>
              <a:rPr lang="da-DK" b="1">
                <a:solidFill>
                  <a:schemeClr val="bg1"/>
                </a:solidFill>
              </a:rPr>
              <a:t>Every Minute Counts</a:t>
            </a:r>
            <a:r>
              <a:rPr lang="da-DK">
                <a:solidFill>
                  <a:schemeClr val="bg1"/>
                </a:solidFill>
              </a:rPr>
              <a:t> schedule optimisation program delivered more than expected</a:t>
            </a:r>
          </a:p>
          <a:p>
            <a:pPr marL="180969" indent="-180969">
              <a:buFont typeface="Arial" pitchFamily="34" charset="0"/>
              <a:buChar char="•"/>
              <a:defRPr/>
            </a:pPr>
            <a:endParaRPr lang="da-DK">
              <a:solidFill>
                <a:schemeClr val="bg1"/>
              </a:solidFill>
            </a:endParaRPr>
          </a:p>
          <a:p>
            <a:pPr marL="180969" indent="-180969">
              <a:buFont typeface="Arial" pitchFamily="34" charset="0"/>
              <a:buChar char="•"/>
              <a:defRPr/>
            </a:pPr>
            <a:r>
              <a:rPr lang="da-DK" b="1">
                <a:solidFill>
                  <a:schemeClr val="bg1"/>
                </a:solidFill>
              </a:rPr>
              <a:t>E-trucks:</a:t>
            </a:r>
            <a:r>
              <a:rPr lang="da-DK">
                <a:solidFill>
                  <a:schemeClr val="bg1"/>
                </a:solidFill>
              </a:rPr>
              <a:t> 90 </a:t>
            </a:r>
            <a:r>
              <a:rPr lang="da-DK" dirty="0">
                <a:solidFill>
                  <a:schemeClr val="bg1"/>
                </a:solidFill>
              </a:rPr>
              <a:t>of 125 </a:t>
            </a:r>
            <a:r>
              <a:rPr lang="da-DK" dirty="0" err="1">
                <a:solidFill>
                  <a:schemeClr val="bg1"/>
                </a:solidFill>
              </a:rPr>
              <a:t>ordered</a:t>
            </a:r>
            <a:r>
              <a:rPr lang="da-DK" dirty="0">
                <a:solidFill>
                  <a:schemeClr val="bg1"/>
                </a:solidFill>
              </a:rPr>
              <a:t> trucks </a:t>
            </a:r>
            <a:r>
              <a:rPr lang="da-DK" dirty="0" err="1">
                <a:solidFill>
                  <a:schemeClr val="bg1"/>
                </a:solidFill>
              </a:rPr>
              <a:t>deployed</a:t>
            </a:r>
            <a:r>
              <a:rPr lang="da-DK" dirty="0">
                <a:solidFill>
                  <a:schemeClr val="bg1"/>
                </a:solidFill>
              </a:rPr>
              <a:t> </a:t>
            </a:r>
            <a:r>
              <a:rPr lang="da-DK">
                <a:solidFill>
                  <a:schemeClr val="bg1"/>
                </a:solidFill>
              </a:rPr>
              <a:t>end 2023</a:t>
            </a:r>
            <a:endParaRPr lang="da-DK" dirty="0">
              <a:solidFill>
                <a:schemeClr val="bg1"/>
              </a:solidFill>
            </a:endParaRPr>
          </a:p>
          <a:p>
            <a:pPr marL="180969" indent="-180969">
              <a:buFont typeface="Arial" pitchFamily="34" charset="0"/>
              <a:buChar char="•"/>
              <a:defRPr/>
            </a:pPr>
            <a:endParaRPr lang="da-DK" dirty="0">
              <a:solidFill>
                <a:schemeClr val="bg1"/>
              </a:solidFill>
            </a:endParaRPr>
          </a:p>
          <a:p>
            <a:pPr marL="180969" indent="-180969">
              <a:buFont typeface="Arial" pitchFamily="34" charset="0"/>
              <a:buChar char="•"/>
              <a:defRPr/>
            </a:pPr>
            <a:r>
              <a:rPr lang="en-GB" b="1">
                <a:solidFill>
                  <a:schemeClr val="bg1"/>
                </a:solidFill>
              </a:rPr>
              <a:t>6 green ferries</a:t>
            </a:r>
            <a:r>
              <a:rPr lang="en-GB">
                <a:solidFill>
                  <a:schemeClr val="bg1"/>
                </a:solidFill>
              </a:rPr>
              <a:t> to be deployed by 2030</a:t>
            </a:r>
          </a:p>
          <a:p>
            <a:pPr marL="180969" indent="-180969">
              <a:buFont typeface="Arial" pitchFamily="34" charset="0"/>
              <a:buChar char="•"/>
              <a:defRPr/>
            </a:pPr>
            <a:endParaRPr lang="en-GB">
              <a:solidFill>
                <a:schemeClr val="bg1"/>
              </a:solidFill>
            </a:endParaRPr>
          </a:p>
          <a:p>
            <a:pPr marL="180969" indent="-180969">
              <a:buFont typeface="Arial" pitchFamily="34" charset="0"/>
              <a:buChar char="•"/>
              <a:defRPr/>
            </a:pPr>
            <a:r>
              <a:rPr lang="en-GB" b="1">
                <a:solidFill>
                  <a:schemeClr val="bg1"/>
                </a:solidFill>
              </a:rPr>
              <a:t>Ferry and Logistics</a:t>
            </a:r>
            <a:r>
              <a:rPr lang="en-GB">
                <a:solidFill>
                  <a:schemeClr val="bg1"/>
                </a:solidFill>
              </a:rPr>
              <a:t> on track for short-term emission reduction targets</a:t>
            </a:r>
            <a:endParaRPr lang="en-GB" dirty="0">
              <a:solidFill>
                <a:schemeClr val="bg1"/>
              </a:solidFill>
            </a:endParaRPr>
          </a:p>
        </p:txBody>
      </p:sp>
      <p:pic>
        <p:nvPicPr>
          <p:cNvPr id="3" name="Picture 2">
            <a:extLst>
              <a:ext uri="{FF2B5EF4-FFF2-40B4-BE49-F238E27FC236}">
                <a16:creationId xmlns:a16="http://schemas.microsoft.com/office/drawing/2014/main" id="{2520EE35-F2DF-4BA8-D783-A5ECC31827F3}"/>
              </a:ext>
            </a:extLst>
          </p:cNvPr>
          <p:cNvPicPr>
            <a:picLocks noChangeAspect="1"/>
          </p:cNvPicPr>
          <p:nvPr/>
        </p:nvPicPr>
        <p:blipFill rotWithShape="1">
          <a:blip r:embed="rId6"/>
          <a:srcRect l="17720" t="29818" r="36257" b="-1"/>
          <a:stretch/>
        </p:blipFill>
        <p:spPr>
          <a:xfrm>
            <a:off x="7465211" y="1628774"/>
            <a:ext cx="4362257" cy="4434817"/>
          </a:xfrm>
          <a:prstGeom prst="rect">
            <a:avLst/>
          </a:prstGeom>
        </p:spPr>
      </p:pic>
      <p:sp>
        <p:nvSpPr>
          <p:cNvPr id="2" name="Title 1">
            <a:extLst>
              <a:ext uri="{FF2B5EF4-FFF2-40B4-BE49-F238E27FC236}">
                <a16:creationId xmlns:a16="http://schemas.microsoft.com/office/drawing/2014/main" id="{5F79B849-D4F2-3124-4EA8-ACB09A211F6F}"/>
              </a:ext>
            </a:extLst>
          </p:cNvPr>
          <p:cNvSpPr>
            <a:spLocks noGrp="1"/>
          </p:cNvSpPr>
          <p:nvPr>
            <p:ph type="title"/>
          </p:nvPr>
        </p:nvSpPr>
        <p:spPr>
          <a:xfrm>
            <a:off x="281802" y="282068"/>
            <a:ext cx="5739322" cy="930275"/>
          </a:xfrm>
        </p:spPr>
        <p:txBody>
          <a:bodyPr/>
          <a:lstStyle/>
          <a:p>
            <a:r>
              <a:rPr lang="da-DK" sz="3000"/>
              <a:t>Solid continued commitment to ESG focus</a:t>
            </a:r>
            <a:endParaRPr lang="da-DK" sz="3000" dirty="0"/>
          </a:p>
        </p:txBody>
      </p:sp>
      <p:sp>
        <p:nvSpPr>
          <p:cNvPr id="13" name="Slide Number Placeholder 1">
            <a:extLst>
              <a:ext uri="{FF2B5EF4-FFF2-40B4-BE49-F238E27FC236}">
                <a16:creationId xmlns:a16="http://schemas.microsoft.com/office/drawing/2014/main" id="{C9369060-1DB9-017F-3D5C-F6F31D5EBAC5}"/>
              </a:ext>
            </a:extLst>
          </p:cNvPr>
          <p:cNvSpPr txBox="1">
            <a:spLocks/>
          </p:cNvSpPr>
          <p:nvPr/>
        </p:nvSpPr>
        <p:spPr>
          <a:xfrm>
            <a:off x="234975" y="6431279"/>
            <a:ext cx="323438" cy="1800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6BB336-FA68-49FA-BBEA-E8420972406D}" type="slidenum">
              <a:rPr lang="en-GB" sz="800" smtClean="0">
                <a:solidFill>
                  <a:schemeClr val="bg1"/>
                </a:solidFill>
              </a:rPr>
              <a:pPr/>
              <a:t>15</a:t>
            </a:fld>
            <a:endParaRPr lang="en-GB" sz="800">
              <a:solidFill>
                <a:schemeClr val="bg1"/>
              </a:solidFill>
            </a:endParaRPr>
          </a:p>
        </p:txBody>
      </p:sp>
      <p:sp>
        <p:nvSpPr>
          <p:cNvPr id="15" name="Content Placeholder 7">
            <a:extLst>
              <a:ext uri="{FF2B5EF4-FFF2-40B4-BE49-F238E27FC236}">
                <a16:creationId xmlns:a16="http://schemas.microsoft.com/office/drawing/2014/main" id="{B535C425-CE00-7CBF-44BD-1ADA127A811D}"/>
              </a:ext>
            </a:extLst>
          </p:cNvPr>
          <p:cNvSpPr txBox="1">
            <a:spLocks/>
          </p:cNvSpPr>
          <p:nvPr/>
        </p:nvSpPr>
        <p:spPr bwMode="auto">
          <a:xfrm>
            <a:off x="278521" y="1985433"/>
            <a:ext cx="4326852" cy="4734408"/>
          </a:xfrm>
          <a:prstGeom prst="rect">
            <a:avLst/>
          </a:prstGeom>
          <a:noFill/>
          <a:ln w="9525">
            <a:noFill/>
            <a:miter lim="800000"/>
            <a:headEnd/>
            <a:tailEnd/>
          </a:ln>
        </p:spPr>
        <p:txBody>
          <a:bodyPr lIns="0" tIns="0" rIns="0" bIns="0"/>
          <a:lstStyle/>
          <a:p>
            <a:pPr marL="180969" indent="-180969">
              <a:buFont typeface="Arial" pitchFamily="34" charset="0"/>
              <a:buChar char="•"/>
              <a:defRPr/>
            </a:pPr>
            <a:r>
              <a:rPr lang="da-DK" sz="1600" b="1" dirty="0"/>
              <a:t>Ferry CO2</a:t>
            </a:r>
            <a:r>
              <a:rPr lang="da-DK" sz="1600" dirty="0"/>
              <a:t> emission </a:t>
            </a:r>
            <a:r>
              <a:rPr lang="da-DK" sz="1600" dirty="0" err="1"/>
              <a:t>intensity</a:t>
            </a:r>
            <a:r>
              <a:rPr lang="da-DK" sz="1600" dirty="0"/>
              <a:t> </a:t>
            </a:r>
            <a:r>
              <a:rPr lang="da-DK" sz="1600"/>
              <a:t>reduced 1.7% for own fleet adjusted for acquisitions</a:t>
            </a:r>
            <a:endParaRPr lang="da-DK" sz="1600" dirty="0"/>
          </a:p>
          <a:p>
            <a:pPr marL="180969" indent="-180969">
              <a:buFont typeface="Arial" pitchFamily="34" charset="0"/>
              <a:buChar char="•"/>
              <a:defRPr/>
            </a:pPr>
            <a:endParaRPr lang="da-DK" sz="1600" dirty="0"/>
          </a:p>
          <a:p>
            <a:pPr marL="180969" indent="-180969">
              <a:buFont typeface="Arial" pitchFamily="34" charset="0"/>
              <a:buChar char="•"/>
              <a:defRPr/>
            </a:pPr>
            <a:r>
              <a:rPr lang="da-DK" sz="1600" b="1"/>
              <a:t>Low-emission ferry </a:t>
            </a:r>
            <a:r>
              <a:rPr lang="da-DK" sz="1600"/>
              <a:t>transition pace challenged by fuel availability</a:t>
            </a:r>
          </a:p>
          <a:p>
            <a:pPr marL="180969" indent="-180969">
              <a:buFont typeface="Arial" pitchFamily="34" charset="0"/>
              <a:buChar char="•"/>
              <a:defRPr/>
            </a:pPr>
            <a:endParaRPr lang="da-DK" sz="1600" dirty="0"/>
          </a:p>
          <a:p>
            <a:pPr marL="180969" indent="-180969">
              <a:buFont typeface="Arial" pitchFamily="34" charset="0"/>
              <a:buChar char="•"/>
              <a:defRPr/>
            </a:pPr>
            <a:r>
              <a:rPr lang="da-DK" sz="1600" b="1" dirty="0"/>
              <a:t>E-trucks</a:t>
            </a:r>
            <a:r>
              <a:rPr lang="da-DK" sz="1600" b="1"/>
              <a:t>:</a:t>
            </a:r>
            <a:r>
              <a:rPr lang="da-DK" sz="1600"/>
              <a:t> 131 e-trucks in operation</a:t>
            </a:r>
          </a:p>
          <a:p>
            <a:pPr marL="180969" indent="-180969">
              <a:buFont typeface="Arial" pitchFamily="34" charset="0"/>
              <a:buChar char="•"/>
              <a:defRPr/>
            </a:pPr>
            <a:endParaRPr lang="da-DK" sz="1600"/>
          </a:p>
          <a:p>
            <a:pPr marL="180969" indent="-180969">
              <a:buFont typeface="Arial" pitchFamily="34" charset="0"/>
              <a:buChar char="•"/>
              <a:defRPr/>
            </a:pPr>
            <a:r>
              <a:rPr lang="da-DK" sz="1600" b="1"/>
              <a:t>Electrification</a:t>
            </a:r>
            <a:r>
              <a:rPr lang="da-DK" sz="1600"/>
              <a:t> also driven by solar panels and port terminal equipment</a:t>
            </a:r>
            <a:endParaRPr lang="da-DK" sz="1600" dirty="0"/>
          </a:p>
          <a:p>
            <a:pPr marL="180969" indent="-180969">
              <a:buFont typeface="Arial" pitchFamily="34" charset="0"/>
              <a:buChar char="•"/>
              <a:defRPr/>
            </a:pPr>
            <a:endParaRPr lang="da-DK" sz="1600"/>
          </a:p>
          <a:p>
            <a:pPr marL="180969" indent="-180969">
              <a:buFont typeface="Arial" pitchFamily="34" charset="0"/>
              <a:buChar char="•"/>
              <a:defRPr/>
            </a:pPr>
            <a:r>
              <a:rPr lang="da-DK" sz="1600" b="1"/>
              <a:t>Women </a:t>
            </a:r>
            <a:r>
              <a:rPr lang="da-DK" sz="1600"/>
              <a:t>in management positions up 1 ppt to 19%</a:t>
            </a:r>
          </a:p>
          <a:p>
            <a:pPr marL="180969" indent="-180969">
              <a:buFont typeface="Arial" pitchFamily="34" charset="0"/>
              <a:buChar char="•"/>
              <a:defRPr/>
            </a:pPr>
            <a:endParaRPr lang="da-DK" sz="1600" dirty="0"/>
          </a:p>
          <a:p>
            <a:pPr marL="180969" indent="-180969">
              <a:buFont typeface="Arial" pitchFamily="34" charset="0"/>
              <a:buChar char="•"/>
              <a:defRPr/>
            </a:pPr>
            <a:r>
              <a:rPr lang="da-DK" sz="1600" b="1" dirty="0"/>
              <a:t>Safety</a:t>
            </a:r>
            <a:r>
              <a:rPr lang="da-DK" sz="1600" dirty="0"/>
              <a:t> (</a:t>
            </a:r>
            <a:r>
              <a:rPr lang="da-DK" sz="1600"/>
              <a:t>LTIF) focus starting to show results for land-</a:t>
            </a:r>
            <a:r>
              <a:rPr lang="da-DK" sz="1600" err="1"/>
              <a:t>based</a:t>
            </a:r>
            <a:r>
              <a:rPr lang="da-DK" sz="1600"/>
              <a:t> activities</a:t>
            </a:r>
            <a:endParaRPr lang="da-DK" sz="1600" dirty="0"/>
          </a:p>
        </p:txBody>
      </p:sp>
      <p:sp>
        <p:nvSpPr>
          <p:cNvPr id="4" name="Slide Number Placeholder 1">
            <a:extLst>
              <a:ext uri="{FF2B5EF4-FFF2-40B4-BE49-F238E27FC236}">
                <a16:creationId xmlns:a16="http://schemas.microsoft.com/office/drawing/2014/main" id="{9493C528-D730-D747-46CA-35230B755072}"/>
              </a:ext>
            </a:extLst>
          </p:cNvPr>
          <p:cNvSpPr txBox="1">
            <a:spLocks/>
          </p:cNvSpPr>
          <p:nvPr/>
        </p:nvSpPr>
        <p:spPr>
          <a:xfrm>
            <a:off x="234975" y="6440759"/>
            <a:ext cx="323438" cy="1800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6BB336-FA68-49FA-BBEA-E8420972406D}" type="slidenum">
              <a:rPr lang="en-GB" sz="800" smtClean="0">
                <a:solidFill>
                  <a:schemeClr val="accent1"/>
                </a:solidFill>
              </a:rPr>
              <a:pPr/>
              <a:t>15</a:t>
            </a:fld>
            <a:endParaRPr lang="en-GB" sz="800">
              <a:solidFill>
                <a:schemeClr val="accent1"/>
              </a:solidFill>
            </a:endParaRPr>
          </a:p>
        </p:txBody>
      </p:sp>
      <p:pic>
        <p:nvPicPr>
          <p:cNvPr id="11" name="Picture Placeholder 10" descr="A machine with a blue and black design&#10;&#10;Description automatically generated">
            <a:extLst>
              <a:ext uri="{FF2B5EF4-FFF2-40B4-BE49-F238E27FC236}">
                <a16:creationId xmlns:a16="http://schemas.microsoft.com/office/drawing/2014/main" id="{05DD3D8F-DC33-2D55-7653-EC348E794A63}"/>
              </a:ext>
            </a:extLst>
          </p:cNvPr>
          <p:cNvPicPr>
            <a:picLocks noGrp="1" noChangeAspect="1"/>
          </p:cNvPicPr>
          <p:nvPr>
            <p:ph type="pic" sz="quarter" idx="18"/>
          </p:nvPr>
        </p:nvPicPr>
        <p:blipFill>
          <a:blip r:embed="rId7">
            <a:extLst>
              <a:ext uri="{28A0092B-C50C-407E-A947-70E740481C1C}">
                <a14:useLocalDpi xmlns:a14="http://schemas.microsoft.com/office/drawing/2010/main" val="0"/>
              </a:ext>
            </a:extLst>
          </a:blip>
          <a:srcRect l="20795" r="20795"/>
          <a:stretch>
            <a:fillRect/>
          </a:stretch>
        </p:blipFill>
        <p:spPr/>
      </p:pic>
    </p:spTree>
    <p:extLst>
      <p:ext uri="{BB962C8B-B14F-4D97-AF65-F5344CB8AC3E}">
        <p14:creationId xmlns:p14="http://schemas.microsoft.com/office/powerpoint/2010/main" val="77737563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C8EB46E-754D-4239-8498-640983F9545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8" imgH="278" progId="TCLayout.ActiveDocument.1">
                  <p:embed/>
                </p:oleObj>
              </mc:Choice>
              <mc:Fallback>
                <p:oleObj name="think-cell Slide" r:id="rId4" imgW="278" imgH="278" progId="TCLayout.ActiveDocument.1">
                  <p:embed/>
                  <p:pic>
                    <p:nvPicPr>
                      <p:cNvPr id="5" name="Object 4" hidden="1">
                        <a:extLst>
                          <a:ext uri="{FF2B5EF4-FFF2-40B4-BE49-F238E27FC236}">
                            <a16:creationId xmlns:a16="http://schemas.microsoft.com/office/drawing/2014/main" id="{1C8EB46E-754D-4239-8498-640983F9545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0D5AF93A-54B4-41D8-B519-B05CA4715B2E}"/>
              </a:ext>
            </a:extLst>
          </p:cNvPr>
          <p:cNvSpPr/>
          <p:nvPr>
            <p:custDataLst>
              <p:tags r:id="rId2"/>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da-DK" sz="2400">
              <a:solidFill>
                <a:schemeClr val="bg1"/>
              </a:solidFill>
              <a:latin typeface="DFDS Bold" panose="00000800000000000000" pitchFamily="2" charset="0"/>
              <a:ea typeface="+mj-ea"/>
              <a:cs typeface="+mj-cs"/>
              <a:sym typeface="DFDS Bold" panose="00000800000000000000" pitchFamily="2" charset="0"/>
            </a:endParaRPr>
          </a:p>
        </p:txBody>
      </p:sp>
      <p:sp>
        <p:nvSpPr>
          <p:cNvPr id="3" name="Slide Number Placeholder 2">
            <a:extLst>
              <a:ext uri="{FF2B5EF4-FFF2-40B4-BE49-F238E27FC236}">
                <a16:creationId xmlns:a16="http://schemas.microsoft.com/office/drawing/2014/main" id="{33EF6948-F973-6265-9D00-D1DBCB364075}"/>
              </a:ext>
            </a:extLst>
          </p:cNvPr>
          <p:cNvSpPr>
            <a:spLocks noGrp="1"/>
          </p:cNvSpPr>
          <p:nvPr>
            <p:ph type="sldNum" sz="quarter" idx="17"/>
          </p:nvPr>
        </p:nvSpPr>
        <p:spPr/>
        <p:txBody>
          <a:bodyPr/>
          <a:lstStyle/>
          <a:p>
            <a:fld id="{23AA811B-2EBD-4900-905E-5BE206449611}" type="slidenum">
              <a:rPr lang="en-GB" smtClean="0"/>
              <a:pPr/>
              <a:t>16</a:t>
            </a:fld>
            <a:endParaRPr lang="en-GB"/>
          </a:p>
        </p:txBody>
      </p:sp>
      <p:sp>
        <p:nvSpPr>
          <p:cNvPr id="39" name="Rectangle 4">
            <a:extLst>
              <a:ext uri="{FF2B5EF4-FFF2-40B4-BE49-F238E27FC236}">
                <a16:creationId xmlns:a16="http://schemas.microsoft.com/office/drawing/2014/main" id="{C6DF9423-C3E0-4078-B910-4D21683DA3FF}"/>
              </a:ext>
            </a:extLst>
          </p:cNvPr>
          <p:cNvSpPr>
            <a:spLocks noGrp="1" noChangeArrowheads="1"/>
          </p:cNvSpPr>
          <p:nvPr>
            <p:ph type="ctrTitle"/>
          </p:nvPr>
        </p:nvSpPr>
        <p:spPr>
          <a:xfrm>
            <a:off x="269876" y="560344"/>
            <a:ext cx="5216524" cy="1416050"/>
          </a:xfrm>
        </p:spPr>
        <p:txBody>
          <a:bodyPr vert="horz" wrap="square" lIns="0" tIns="0" rIns="0" bIns="0" rtlCol="0" anchor="t">
            <a:noAutofit/>
          </a:bodyPr>
          <a:lstStyle/>
          <a:p>
            <a:r>
              <a:rPr lang="da-DK"/>
              <a:t>2025 focus areas</a:t>
            </a:r>
            <a:endParaRPr lang="en-US"/>
          </a:p>
        </p:txBody>
      </p:sp>
      <p:sp>
        <p:nvSpPr>
          <p:cNvPr id="41" name="TextBox 8">
            <a:extLst>
              <a:ext uri="{FF2B5EF4-FFF2-40B4-BE49-F238E27FC236}">
                <a16:creationId xmlns:a16="http://schemas.microsoft.com/office/drawing/2014/main" id="{D387D46F-34F7-48A9-A510-23DBE8B25996}"/>
              </a:ext>
            </a:extLst>
          </p:cNvPr>
          <p:cNvSpPr txBox="1">
            <a:spLocks noChangeArrowheads="1"/>
          </p:cNvSpPr>
          <p:nvPr/>
        </p:nvSpPr>
        <p:spPr bwMode="auto">
          <a:xfrm>
            <a:off x="11501438" y="1285875"/>
            <a:ext cx="1847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atin typeface="DFDS Light" panose="02000300000000020000" pitchFamily="2" charset="0"/>
            </a:endParaRPr>
          </a:p>
        </p:txBody>
      </p:sp>
      <p:sp>
        <p:nvSpPr>
          <p:cNvPr id="7" name="Subtitle 6">
            <a:extLst>
              <a:ext uri="{FF2B5EF4-FFF2-40B4-BE49-F238E27FC236}">
                <a16:creationId xmlns:a16="http://schemas.microsoft.com/office/drawing/2014/main" id="{63B9B49F-6796-9D74-1963-509B242508A4}"/>
              </a:ext>
            </a:extLst>
          </p:cNvPr>
          <p:cNvSpPr>
            <a:spLocks noGrp="1"/>
          </p:cNvSpPr>
          <p:nvPr>
            <p:ph type="subTitle" idx="1"/>
          </p:nvPr>
        </p:nvSpPr>
        <p:spPr/>
        <p:txBody>
          <a:bodyPr/>
          <a:lstStyle/>
          <a:p>
            <a:endParaRPr lang="da-DK"/>
          </a:p>
        </p:txBody>
      </p:sp>
      <p:sp>
        <p:nvSpPr>
          <p:cNvPr id="2" name="Slide Number Placeholder 1">
            <a:extLst>
              <a:ext uri="{FF2B5EF4-FFF2-40B4-BE49-F238E27FC236}">
                <a16:creationId xmlns:a16="http://schemas.microsoft.com/office/drawing/2014/main" id="{949E732A-4CCD-2AF9-17E8-FF7163B45DBA}"/>
              </a:ext>
            </a:extLst>
          </p:cNvPr>
          <p:cNvSpPr txBox="1">
            <a:spLocks/>
          </p:cNvSpPr>
          <p:nvPr/>
        </p:nvSpPr>
        <p:spPr>
          <a:xfrm>
            <a:off x="234975" y="6431279"/>
            <a:ext cx="323438" cy="1800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6BB336-FA68-49FA-BBEA-E8420972406D}" type="slidenum">
              <a:rPr lang="en-GB" sz="800" smtClean="0">
                <a:solidFill>
                  <a:schemeClr val="bg1"/>
                </a:solidFill>
              </a:rPr>
              <a:pPr/>
              <a:t>16</a:t>
            </a:fld>
            <a:endParaRPr lang="en-GB" sz="800">
              <a:solidFill>
                <a:schemeClr val="bg1"/>
              </a:solidFill>
            </a:endParaRPr>
          </a:p>
        </p:txBody>
      </p:sp>
    </p:spTree>
    <p:extLst>
      <p:ext uri="{BB962C8B-B14F-4D97-AF65-F5344CB8AC3E}">
        <p14:creationId xmlns:p14="http://schemas.microsoft.com/office/powerpoint/2010/main" val="307774178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C8EB46E-754D-4239-8498-640983F9545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8" imgH="278" progId="TCLayout.ActiveDocument.1">
                  <p:embed/>
                </p:oleObj>
              </mc:Choice>
              <mc:Fallback>
                <p:oleObj name="think-cell Slide" r:id="rId4" imgW="278" imgH="278" progId="TCLayout.ActiveDocument.1">
                  <p:embed/>
                  <p:pic>
                    <p:nvPicPr>
                      <p:cNvPr id="5" name="Object 4" hidden="1">
                        <a:extLst>
                          <a:ext uri="{FF2B5EF4-FFF2-40B4-BE49-F238E27FC236}">
                            <a16:creationId xmlns:a16="http://schemas.microsoft.com/office/drawing/2014/main" id="{1C8EB46E-754D-4239-8498-640983F9545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0D5AF93A-54B4-41D8-B519-B05CA4715B2E}"/>
              </a:ext>
            </a:extLst>
          </p:cNvPr>
          <p:cNvSpPr/>
          <p:nvPr>
            <p:custDataLst>
              <p:tags r:id="rId2"/>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da-DK" sz="2400" dirty="0">
              <a:solidFill>
                <a:schemeClr val="bg1"/>
              </a:solidFill>
              <a:latin typeface="DFDS Bold" panose="00000800000000000000" pitchFamily="2" charset="0"/>
              <a:ea typeface="+mj-ea"/>
              <a:cs typeface="+mj-cs"/>
              <a:sym typeface="DFDS Bold" panose="00000800000000000000" pitchFamily="2" charset="0"/>
            </a:endParaRPr>
          </a:p>
        </p:txBody>
      </p:sp>
      <p:sp>
        <p:nvSpPr>
          <p:cNvPr id="16" name="Rectangle 4">
            <a:extLst>
              <a:ext uri="{FF2B5EF4-FFF2-40B4-BE49-F238E27FC236}">
                <a16:creationId xmlns:a16="http://schemas.microsoft.com/office/drawing/2014/main" id="{419A411F-C5C9-4DAB-8F65-25F8581CF769}"/>
              </a:ext>
            </a:extLst>
          </p:cNvPr>
          <p:cNvSpPr txBox="1">
            <a:spLocks noChangeArrowheads="1"/>
          </p:cNvSpPr>
          <p:nvPr/>
        </p:nvSpPr>
        <p:spPr>
          <a:xfrm>
            <a:off x="277826" y="277826"/>
            <a:ext cx="5727687" cy="785812"/>
          </a:xfrm>
          <a:prstGeom prst="rect">
            <a:avLst/>
          </a:prstGeom>
        </p:spPr>
        <p:txBody>
          <a:bodyPr vert="horz" wrap="square" lIns="0" tIns="0" rIns="0" bIns="0" rtlCol="0" anchor="t">
            <a:noAutofit/>
          </a:bodyPr>
          <a:lstStyle>
            <a:defPPr>
              <a:defRPr lang="en-US"/>
            </a:defPPr>
            <a:lvl1pPr>
              <a:lnSpc>
                <a:spcPct val="90000"/>
              </a:lnSpc>
              <a:spcBef>
                <a:spcPct val="0"/>
              </a:spcBef>
              <a:buNone/>
              <a:defRPr sz="3200" cap="none" baseline="0">
                <a:solidFill>
                  <a:schemeClr val="accent1"/>
                </a:solidFill>
                <a:latin typeface="+mj-lt"/>
                <a:ea typeface="+mj-ea"/>
                <a:cs typeface="+mj-cs"/>
              </a:defRPr>
            </a:lvl1pPr>
          </a:lstStyle>
          <a:p>
            <a:r>
              <a:rPr lang="da-DK"/>
              <a:t>Underlying network strength intact</a:t>
            </a:r>
            <a:endParaRPr lang="en-US" dirty="0"/>
          </a:p>
        </p:txBody>
      </p:sp>
      <p:sp>
        <p:nvSpPr>
          <p:cNvPr id="18" name="TextBox 8">
            <a:extLst>
              <a:ext uri="{FF2B5EF4-FFF2-40B4-BE49-F238E27FC236}">
                <a16:creationId xmlns:a16="http://schemas.microsoft.com/office/drawing/2014/main" id="{407302E7-C726-4CF2-8479-E5FA89195FF9}"/>
              </a:ext>
            </a:extLst>
          </p:cNvPr>
          <p:cNvSpPr txBox="1">
            <a:spLocks noChangeArrowheads="1"/>
          </p:cNvSpPr>
          <p:nvPr/>
        </p:nvSpPr>
        <p:spPr bwMode="auto">
          <a:xfrm>
            <a:off x="11501438" y="1285875"/>
            <a:ext cx="1847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atin typeface="DFDS Light" panose="02000300000000020000" pitchFamily="2" charset="0"/>
            </a:endParaRPr>
          </a:p>
        </p:txBody>
      </p:sp>
      <p:sp>
        <p:nvSpPr>
          <p:cNvPr id="19" name="Content Placeholder 7">
            <a:extLst>
              <a:ext uri="{FF2B5EF4-FFF2-40B4-BE49-F238E27FC236}">
                <a16:creationId xmlns:a16="http://schemas.microsoft.com/office/drawing/2014/main" id="{AC7ED01D-B8C5-4B81-ABC4-805C6345B13F}"/>
              </a:ext>
            </a:extLst>
          </p:cNvPr>
          <p:cNvSpPr txBox="1">
            <a:spLocks/>
          </p:cNvSpPr>
          <p:nvPr/>
        </p:nvSpPr>
        <p:spPr bwMode="auto">
          <a:xfrm>
            <a:off x="274228" y="1997781"/>
            <a:ext cx="4039676" cy="3924300"/>
          </a:xfrm>
          <a:prstGeom prst="rect">
            <a:avLst/>
          </a:prstGeom>
          <a:noFill/>
          <a:ln w="9525">
            <a:noFill/>
            <a:miter lim="800000"/>
            <a:headEnd/>
            <a:tailEnd/>
          </a:ln>
        </p:spPr>
        <p:txBody>
          <a:bodyPr lIns="0" tIns="0" rIns="0" bIns="0"/>
          <a:lstStyle/>
          <a:p>
            <a:pPr marL="180969" indent="-180969">
              <a:buFont typeface="Arial" pitchFamily="34" charset="0"/>
              <a:buChar char="•"/>
              <a:defRPr/>
            </a:pPr>
            <a:r>
              <a:rPr lang="da-DK" b="1"/>
              <a:t>Majority of network</a:t>
            </a:r>
            <a:r>
              <a:rPr lang="da-DK"/>
              <a:t> expected to uphold performance or improve</a:t>
            </a:r>
          </a:p>
          <a:p>
            <a:pPr marL="180969" indent="-180969">
              <a:buFont typeface="Arial" pitchFamily="34" charset="0"/>
              <a:buChar char="•"/>
              <a:defRPr/>
            </a:pPr>
            <a:endParaRPr lang="da-DK"/>
          </a:p>
          <a:p>
            <a:pPr marL="180969" indent="-180969">
              <a:buFont typeface="Arial" pitchFamily="34" charset="0"/>
              <a:buChar char="•"/>
              <a:defRPr/>
            </a:pPr>
            <a:r>
              <a:rPr lang="da-DK"/>
              <a:t>North Sea/Channel/Baltic Sea</a:t>
            </a:r>
          </a:p>
          <a:p>
            <a:pPr marL="180969" indent="-180969">
              <a:buFont typeface="Arial" pitchFamily="34" charset="0"/>
              <a:buChar char="•"/>
              <a:defRPr/>
            </a:pPr>
            <a:endParaRPr lang="da-DK"/>
          </a:p>
          <a:p>
            <a:pPr marL="180969" indent="-180969">
              <a:buFont typeface="Arial" pitchFamily="34" charset="0"/>
              <a:buChar char="•"/>
              <a:defRPr/>
            </a:pPr>
            <a:r>
              <a:rPr lang="da-DK"/>
              <a:t>Strait of Gibraltar ex. Tarifa route </a:t>
            </a:r>
            <a:r>
              <a:rPr lang="da-DK" dirty="0"/>
              <a:t>– </a:t>
            </a:r>
            <a:r>
              <a:rPr lang="da-DK" dirty="0" err="1"/>
              <a:t>continued</a:t>
            </a:r>
            <a:r>
              <a:rPr lang="da-DK" dirty="0"/>
              <a:t> </a:t>
            </a:r>
            <a:r>
              <a:rPr lang="da-DK" err="1"/>
              <a:t>growth</a:t>
            </a:r>
            <a:r>
              <a:rPr lang="da-DK"/>
              <a:t> expected</a:t>
            </a:r>
          </a:p>
          <a:p>
            <a:pPr marL="180969" indent="-180969">
              <a:buFont typeface="Arial" pitchFamily="34" charset="0"/>
              <a:buChar char="•"/>
              <a:defRPr/>
            </a:pPr>
            <a:endParaRPr lang="da-DK"/>
          </a:p>
          <a:p>
            <a:pPr marL="180969" indent="-180969">
              <a:buFont typeface="Arial" pitchFamily="34" charset="0"/>
              <a:buChar char="•"/>
              <a:defRPr/>
            </a:pPr>
            <a:r>
              <a:rPr lang="da-DK"/>
              <a:t>Logistics – UK &amp; Ireland robust, parts of Nordic/Continent challenged</a:t>
            </a:r>
            <a:endParaRPr lang="da-DK" dirty="0"/>
          </a:p>
          <a:p>
            <a:pPr marL="180969" indent="-180969">
              <a:buFont typeface="Arial" pitchFamily="34" charset="0"/>
              <a:buChar char="•"/>
              <a:defRPr/>
            </a:pPr>
            <a:endParaRPr lang="da-DK" dirty="0"/>
          </a:p>
          <a:p>
            <a:pPr marL="180969" indent="-180969">
              <a:buFont typeface="Arial" pitchFamily="34" charset="0"/>
              <a:buChar char="•"/>
              <a:defRPr/>
            </a:pPr>
            <a:r>
              <a:rPr lang="da-DK" b="1" dirty="0"/>
              <a:t>Jersey</a:t>
            </a:r>
            <a:r>
              <a:rPr lang="da-DK" dirty="0"/>
              <a:t> – new 20-year </a:t>
            </a:r>
            <a:r>
              <a:rPr lang="da-DK" err="1"/>
              <a:t>ferry</a:t>
            </a:r>
            <a:r>
              <a:rPr lang="da-DK"/>
              <a:t> contract</a:t>
            </a:r>
            <a:endParaRPr lang="da-DK" dirty="0"/>
          </a:p>
          <a:p>
            <a:pPr marL="180969" indent="-180969">
              <a:buFont typeface="Arial" pitchFamily="34" charset="0"/>
              <a:buChar char="•"/>
              <a:defRPr/>
            </a:pPr>
            <a:endParaRPr lang="da-DK" dirty="0"/>
          </a:p>
        </p:txBody>
      </p:sp>
      <p:sp>
        <p:nvSpPr>
          <p:cNvPr id="2" name="Slide Number Placeholder 1">
            <a:extLst>
              <a:ext uri="{FF2B5EF4-FFF2-40B4-BE49-F238E27FC236}">
                <a16:creationId xmlns:a16="http://schemas.microsoft.com/office/drawing/2014/main" id="{D09D448E-7D31-D12A-0E95-F48027EB240D}"/>
              </a:ext>
            </a:extLst>
          </p:cNvPr>
          <p:cNvSpPr txBox="1">
            <a:spLocks/>
          </p:cNvSpPr>
          <p:nvPr/>
        </p:nvSpPr>
        <p:spPr>
          <a:xfrm>
            <a:off x="234975" y="6431279"/>
            <a:ext cx="323438" cy="1800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6BB336-FA68-49FA-BBEA-E8420972406D}" type="slidenum">
              <a:rPr lang="en-GB" sz="800" smtClean="0"/>
              <a:pPr/>
              <a:t>17</a:t>
            </a:fld>
            <a:endParaRPr lang="en-GB" sz="800"/>
          </a:p>
        </p:txBody>
      </p:sp>
      <p:pic>
        <p:nvPicPr>
          <p:cNvPr id="12" name="Picture Placeholder 11">
            <a:extLst>
              <a:ext uri="{FF2B5EF4-FFF2-40B4-BE49-F238E27FC236}">
                <a16:creationId xmlns:a16="http://schemas.microsoft.com/office/drawing/2014/main" id="{C3E10BC5-090D-EDA5-A09F-B4B38A62DA9F}"/>
              </a:ext>
            </a:extLst>
          </p:cNvPr>
          <p:cNvPicPr>
            <a:picLocks noGrp="1" noChangeAspect="1"/>
          </p:cNvPicPr>
          <p:nvPr>
            <p:ph type="pic" sz="quarter" idx="18"/>
          </p:nvPr>
        </p:nvPicPr>
        <p:blipFill>
          <a:blip r:embed="rId6">
            <a:extLst>
              <a:ext uri="{28A0092B-C50C-407E-A947-70E740481C1C}">
                <a14:useLocalDpi xmlns:a14="http://schemas.microsoft.com/office/drawing/2010/main" val="0"/>
              </a:ext>
            </a:extLst>
          </a:blip>
          <a:srcRect l="21497" r="21497"/>
          <a:stretch/>
        </p:blipFill>
        <p:spPr>
          <a:xfrm>
            <a:off x="6327776" y="0"/>
            <a:ext cx="5864224" cy="6858000"/>
          </a:xfrm>
        </p:spPr>
      </p:pic>
    </p:spTree>
    <p:extLst>
      <p:ext uri="{BB962C8B-B14F-4D97-AF65-F5344CB8AC3E}">
        <p14:creationId xmlns:p14="http://schemas.microsoft.com/office/powerpoint/2010/main" val="390619067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ECA9ED-3706-3424-DD75-330DB1EF4C2D}"/>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362E34B-1926-15A0-6C18-B8B07714E10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8" imgH="278" progId="TCLayout.ActiveDocument.1">
                  <p:embed/>
                </p:oleObj>
              </mc:Choice>
              <mc:Fallback>
                <p:oleObj name="think-cell Slide" r:id="rId4" imgW="278" imgH="278" progId="TCLayout.ActiveDocument.1">
                  <p:embed/>
                  <p:pic>
                    <p:nvPicPr>
                      <p:cNvPr id="5" name="Object 4" hidden="1">
                        <a:extLst>
                          <a:ext uri="{FF2B5EF4-FFF2-40B4-BE49-F238E27FC236}">
                            <a16:creationId xmlns:a16="http://schemas.microsoft.com/office/drawing/2014/main" id="{1C8EB46E-754D-4239-8498-640983F9545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85B3937E-08AD-CD79-8B60-2EE8F2BADF50}"/>
              </a:ext>
            </a:extLst>
          </p:cNvPr>
          <p:cNvSpPr/>
          <p:nvPr>
            <p:custDataLst>
              <p:tags r:id="rId2"/>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da-DK" sz="2400" dirty="0">
              <a:solidFill>
                <a:schemeClr val="bg1"/>
              </a:solidFill>
              <a:latin typeface="DFDS Bold" panose="00000800000000000000" pitchFamily="2" charset="0"/>
              <a:ea typeface="+mj-ea"/>
              <a:cs typeface="+mj-cs"/>
              <a:sym typeface="DFDS Bold" panose="00000800000000000000" pitchFamily="2" charset="0"/>
            </a:endParaRPr>
          </a:p>
        </p:txBody>
      </p:sp>
      <p:sp>
        <p:nvSpPr>
          <p:cNvPr id="16" name="Rectangle 4">
            <a:extLst>
              <a:ext uri="{FF2B5EF4-FFF2-40B4-BE49-F238E27FC236}">
                <a16:creationId xmlns:a16="http://schemas.microsoft.com/office/drawing/2014/main" id="{32E4D840-F9B0-1F33-256B-965BE19E5FAF}"/>
              </a:ext>
            </a:extLst>
          </p:cNvPr>
          <p:cNvSpPr txBox="1">
            <a:spLocks noChangeArrowheads="1"/>
          </p:cNvSpPr>
          <p:nvPr/>
        </p:nvSpPr>
        <p:spPr>
          <a:xfrm>
            <a:off x="277826" y="277826"/>
            <a:ext cx="5727687" cy="785812"/>
          </a:xfrm>
          <a:prstGeom prst="rect">
            <a:avLst/>
          </a:prstGeom>
        </p:spPr>
        <p:txBody>
          <a:bodyPr vert="horz" wrap="square" lIns="0" tIns="0" rIns="0" bIns="0" rtlCol="0" anchor="t">
            <a:noAutofit/>
          </a:bodyPr>
          <a:lstStyle>
            <a:defPPr>
              <a:defRPr lang="en-US"/>
            </a:defPPr>
            <a:lvl1pPr>
              <a:lnSpc>
                <a:spcPct val="90000"/>
              </a:lnSpc>
              <a:spcBef>
                <a:spcPct val="0"/>
              </a:spcBef>
              <a:buNone/>
              <a:defRPr sz="3200" cap="none" baseline="0">
                <a:solidFill>
                  <a:schemeClr val="accent1"/>
                </a:solidFill>
                <a:latin typeface="+mj-lt"/>
                <a:ea typeface="+mj-ea"/>
                <a:cs typeface="+mj-cs"/>
              </a:defRPr>
            </a:lvl1pPr>
          </a:lstStyle>
          <a:p>
            <a:r>
              <a:rPr lang="da-DK"/>
              <a:t>3 focus areas to resolve</a:t>
            </a:r>
            <a:br>
              <a:rPr lang="da-DK"/>
            </a:br>
            <a:r>
              <a:rPr lang="da-DK"/>
              <a:t>in 2025</a:t>
            </a:r>
            <a:endParaRPr lang="en-US" dirty="0"/>
          </a:p>
        </p:txBody>
      </p:sp>
      <p:sp>
        <p:nvSpPr>
          <p:cNvPr id="18" name="TextBox 8">
            <a:extLst>
              <a:ext uri="{FF2B5EF4-FFF2-40B4-BE49-F238E27FC236}">
                <a16:creationId xmlns:a16="http://schemas.microsoft.com/office/drawing/2014/main" id="{5BEA5EA7-46D1-76C3-90C5-1E3A1F7C426B}"/>
              </a:ext>
            </a:extLst>
          </p:cNvPr>
          <p:cNvSpPr txBox="1">
            <a:spLocks noChangeArrowheads="1"/>
          </p:cNvSpPr>
          <p:nvPr/>
        </p:nvSpPr>
        <p:spPr bwMode="auto">
          <a:xfrm>
            <a:off x="11501438" y="1285875"/>
            <a:ext cx="1847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atin typeface="DFDS Light" panose="02000300000000020000" pitchFamily="2" charset="0"/>
            </a:endParaRPr>
          </a:p>
        </p:txBody>
      </p:sp>
      <p:sp>
        <p:nvSpPr>
          <p:cNvPr id="19" name="Content Placeholder 7">
            <a:extLst>
              <a:ext uri="{FF2B5EF4-FFF2-40B4-BE49-F238E27FC236}">
                <a16:creationId xmlns:a16="http://schemas.microsoft.com/office/drawing/2014/main" id="{B7FE475E-2970-918D-525A-F3226DB296E2}"/>
              </a:ext>
            </a:extLst>
          </p:cNvPr>
          <p:cNvSpPr txBox="1">
            <a:spLocks/>
          </p:cNvSpPr>
          <p:nvPr/>
        </p:nvSpPr>
        <p:spPr bwMode="auto">
          <a:xfrm>
            <a:off x="274227" y="2418112"/>
            <a:ext cx="4745447" cy="3924300"/>
          </a:xfrm>
          <a:prstGeom prst="rect">
            <a:avLst/>
          </a:prstGeom>
          <a:noFill/>
          <a:ln w="9525">
            <a:noFill/>
            <a:miter lim="800000"/>
            <a:headEnd/>
            <a:tailEnd/>
          </a:ln>
        </p:spPr>
        <p:txBody>
          <a:bodyPr lIns="0" tIns="0" rIns="0" bIns="0"/>
          <a:lstStyle/>
          <a:p>
            <a:pPr marL="180969" indent="-180969">
              <a:buFont typeface="Arial" pitchFamily="34" charset="0"/>
              <a:buChar char="•"/>
              <a:defRPr/>
            </a:pPr>
            <a:r>
              <a:rPr lang="da-DK" sz="2400"/>
              <a:t>Adapting Mediterranean</a:t>
            </a:r>
          </a:p>
          <a:p>
            <a:pPr marL="180969" indent="-180969">
              <a:buFont typeface="Arial" pitchFamily="34" charset="0"/>
              <a:buChar char="•"/>
              <a:defRPr/>
            </a:pPr>
            <a:endParaRPr lang="da-DK" sz="2400"/>
          </a:p>
          <a:p>
            <a:pPr marL="180969" indent="-180969">
              <a:buFont typeface="Arial" pitchFamily="34" charset="0"/>
              <a:buChar char="•"/>
              <a:defRPr/>
            </a:pPr>
            <a:r>
              <a:rPr lang="da-DK" sz="2400"/>
              <a:t>Türkiye &amp; Europe South turnaround</a:t>
            </a:r>
          </a:p>
          <a:p>
            <a:pPr marL="180969" indent="-180969">
              <a:buFont typeface="Arial" pitchFamily="34" charset="0"/>
              <a:buChar char="•"/>
              <a:defRPr/>
            </a:pPr>
            <a:endParaRPr lang="da-DK" sz="2400"/>
          </a:p>
          <a:p>
            <a:pPr marL="180969" indent="-180969">
              <a:buFont typeface="Arial" pitchFamily="34" charset="0"/>
              <a:buChar char="•"/>
              <a:defRPr/>
            </a:pPr>
            <a:r>
              <a:rPr lang="da-DK" sz="2400"/>
              <a:t>Logistics Boost projects</a:t>
            </a:r>
            <a:endParaRPr lang="da-DK" sz="2400" dirty="0"/>
          </a:p>
        </p:txBody>
      </p:sp>
      <p:sp>
        <p:nvSpPr>
          <p:cNvPr id="2" name="Slide Number Placeholder 1">
            <a:extLst>
              <a:ext uri="{FF2B5EF4-FFF2-40B4-BE49-F238E27FC236}">
                <a16:creationId xmlns:a16="http://schemas.microsoft.com/office/drawing/2014/main" id="{71B1042E-4C83-4BEC-192E-D1174268B198}"/>
              </a:ext>
            </a:extLst>
          </p:cNvPr>
          <p:cNvSpPr txBox="1">
            <a:spLocks/>
          </p:cNvSpPr>
          <p:nvPr/>
        </p:nvSpPr>
        <p:spPr>
          <a:xfrm>
            <a:off x="234975" y="6431279"/>
            <a:ext cx="323438" cy="1800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6BB336-FA68-49FA-BBEA-E8420972406D}" type="slidenum">
              <a:rPr lang="en-GB" sz="800" smtClean="0"/>
              <a:pPr/>
              <a:t>18</a:t>
            </a:fld>
            <a:endParaRPr lang="en-GB" sz="800"/>
          </a:p>
        </p:txBody>
      </p:sp>
      <p:pic>
        <p:nvPicPr>
          <p:cNvPr id="12" name="Picture Placeholder 11">
            <a:extLst>
              <a:ext uri="{FF2B5EF4-FFF2-40B4-BE49-F238E27FC236}">
                <a16:creationId xmlns:a16="http://schemas.microsoft.com/office/drawing/2014/main" id="{DCBDDF73-B043-8AAC-E361-67ACDCF78DD0}"/>
              </a:ext>
            </a:extLst>
          </p:cNvPr>
          <p:cNvPicPr>
            <a:picLocks noGrp="1" noChangeAspect="1"/>
          </p:cNvPicPr>
          <p:nvPr>
            <p:ph type="pic" sz="quarter" idx="18"/>
          </p:nvPr>
        </p:nvPicPr>
        <p:blipFill>
          <a:blip r:embed="rId6">
            <a:extLst>
              <a:ext uri="{28A0092B-C50C-407E-A947-70E740481C1C}">
                <a14:useLocalDpi xmlns:a14="http://schemas.microsoft.com/office/drawing/2010/main" val="0"/>
              </a:ext>
            </a:extLst>
          </a:blip>
          <a:srcRect l="21497" r="21497"/>
          <a:stretch/>
        </p:blipFill>
        <p:spPr>
          <a:xfrm>
            <a:off x="6327776" y="0"/>
            <a:ext cx="5864224" cy="6858000"/>
          </a:xfrm>
        </p:spPr>
      </p:pic>
    </p:spTree>
    <p:extLst>
      <p:ext uri="{BB962C8B-B14F-4D97-AF65-F5344CB8AC3E}">
        <p14:creationId xmlns:p14="http://schemas.microsoft.com/office/powerpoint/2010/main" val="209840538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B530AE-B8DC-63FE-E1CE-7A1C1DF68FB3}"/>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85810B0-F7D3-CF07-136A-1BE96C858CD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8" imgH="278" progId="TCLayout.ActiveDocument.1">
                  <p:embed/>
                </p:oleObj>
              </mc:Choice>
              <mc:Fallback>
                <p:oleObj name="think-cell Slide" r:id="rId4" imgW="278" imgH="278" progId="TCLayout.ActiveDocument.1">
                  <p:embed/>
                  <p:pic>
                    <p:nvPicPr>
                      <p:cNvPr id="5" name="Object 4" hidden="1">
                        <a:extLst>
                          <a:ext uri="{FF2B5EF4-FFF2-40B4-BE49-F238E27FC236}">
                            <a16:creationId xmlns:a16="http://schemas.microsoft.com/office/drawing/2014/main" id="{1C8EB46E-754D-4239-8498-640983F9545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02A84262-527F-5A03-98C0-F1602BDE8866}"/>
              </a:ext>
            </a:extLst>
          </p:cNvPr>
          <p:cNvSpPr/>
          <p:nvPr>
            <p:custDataLst>
              <p:tags r:id="rId2"/>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da-DK" sz="2400" dirty="0">
              <a:solidFill>
                <a:schemeClr val="bg1"/>
              </a:solidFill>
              <a:latin typeface="DFDS Bold" panose="00000800000000000000" pitchFamily="2" charset="0"/>
              <a:ea typeface="+mj-ea"/>
              <a:cs typeface="+mj-cs"/>
              <a:sym typeface="DFDS Bold" panose="00000800000000000000" pitchFamily="2" charset="0"/>
            </a:endParaRPr>
          </a:p>
        </p:txBody>
      </p:sp>
      <p:sp>
        <p:nvSpPr>
          <p:cNvPr id="16" name="Rectangle 4">
            <a:extLst>
              <a:ext uri="{FF2B5EF4-FFF2-40B4-BE49-F238E27FC236}">
                <a16:creationId xmlns:a16="http://schemas.microsoft.com/office/drawing/2014/main" id="{3B68612E-C484-1541-7E67-4E57054E8FB6}"/>
              </a:ext>
            </a:extLst>
          </p:cNvPr>
          <p:cNvSpPr txBox="1">
            <a:spLocks noChangeArrowheads="1"/>
          </p:cNvSpPr>
          <p:nvPr/>
        </p:nvSpPr>
        <p:spPr>
          <a:xfrm>
            <a:off x="277826" y="277826"/>
            <a:ext cx="5727687" cy="785812"/>
          </a:xfrm>
          <a:prstGeom prst="rect">
            <a:avLst/>
          </a:prstGeom>
        </p:spPr>
        <p:txBody>
          <a:bodyPr vert="horz" wrap="square" lIns="0" tIns="0" rIns="0" bIns="0" rtlCol="0" anchor="t">
            <a:noAutofit/>
          </a:bodyPr>
          <a:lstStyle>
            <a:defPPr>
              <a:defRPr lang="en-US"/>
            </a:defPPr>
            <a:lvl1pPr>
              <a:lnSpc>
                <a:spcPct val="90000"/>
              </a:lnSpc>
              <a:spcBef>
                <a:spcPct val="0"/>
              </a:spcBef>
              <a:buNone/>
              <a:defRPr sz="3200" cap="none" baseline="0">
                <a:solidFill>
                  <a:schemeClr val="accent1"/>
                </a:solidFill>
                <a:latin typeface="+mj-lt"/>
                <a:ea typeface="+mj-ea"/>
                <a:cs typeface="+mj-cs"/>
              </a:defRPr>
            </a:lvl1pPr>
          </a:lstStyle>
          <a:p>
            <a:r>
              <a:rPr lang="da-DK"/>
              <a:t>Adapting Mediterranean to new competitive environment</a:t>
            </a:r>
            <a:endParaRPr lang="en-US" dirty="0"/>
          </a:p>
        </p:txBody>
      </p:sp>
      <p:sp>
        <p:nvSpPr>
          <p:cNvPr id="18" name="TextBox 8">
            <a:extLst>
              <a:ext uri="{FF2B5EF4-FFF2-40B4-BE49-F238E27FC236}">
                <a16:creationId xmlns:a16="http://schemas.microsoft.com/office/drawing/2014/main" id="{4D7BB516-034F-4510-1331-2041C17E8585}"/>
              </a:ext>
            </a:extLst>
          </p:cNvPr>
          <p:cNvSpPr txBox="1">
            <a:spLocks noChangeArrowheads="1"/>
          </p:cNvSpPr>
          <p:nvPr/>
        </p:nvSpPr>
        <p:spPr bwMode="auto">
          <a:xfrm>
            <a:off x="11501438" y="1285875"/>
            <a:ext cx="1847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atin typeface="DFDS Light" panose="02000300000000020000" pitchFamily="2" charset="0"/>
            </a:endParaRPr>
          </a:p>
        </p:txBody>
      </p:sp>
      <p:sp>
        <p:nvSpPr>
          <p:cNvPr id="19" name="Content Placeholder 7">
            <a:extLst>
              <a:ext uri="{FF2B5EF4-FFF2-40B4-BE49-F238E27FC236}">
                <a16:creationId xmlns:a16="http://schemas.microsoft.com/office/drawing/2014/main" id="{D755EF73-A93E-3CA8-4A7E-528B7F95FB73}"/>
              </a:ext>
            </a:extLst>
          </p:cNvPr>
          <p:cNvSpPr txBox="1">
            <a:spLocks/>
          </p:cNvSpPr>
          <p:nvPr/>
        </p:nvSpPr>
        <p:spPr bwMode="auto">
          <a:xfrm>
            <a:off x="274228" y="2396993"/>
            <a:ext cx="3986622" cy="3924300"/>
          </a:xfrm>
          <a:prstGeom prst="rect">
            <a:avLst/>
          </a:prstGeom>
          <a:noFill/>
          <a:ln w="9525">
            <a:noFill/>
            <a:miter lim="800000"/>
            <a:headEnd/>
            <a:tailEnd/>
          </a:ln>
        </p:spPr>
        <p:txBody>
          <a:bodyPr lIns="0" tIns="0" rIns="0" bIns="0"/>
          <a:lstStyle/>
          <a:p>
            <a:pPr marL="180969" indent="-180969">
              <a:buFont typeface="Arial" pitchFamily="34" charset="0"/>
              <a:buChar char="•"/>
              <a:defRPr/>
            </a:pPr>
            <a:r>
              <a:rPr lang="da-DK" dirty="0" err="1"/>
              <a:t>Overcapacity</a:t>
            </a:r>
            <a:r>
              <a:rPr lang="da-DK" dirty="0"/>
              <a:t> </a:t>
            </a:r>
            <a:r>
              <a:rPr lang="da-DK" dirty="0" err="1"/>
              <a:t>created</a:t>
            </a:r>
            <a:r>
              <a:rPr lang="da-DK" dirty="0"/>
              <a:t> on Istanbul-Trieste </a:t>
            </a:r>
            <a:r>
              <a:rPr lang="da-DK" dirty="0" err="1"/>
              <a:t>corridor</a:t>
            </a:r>
            <a:r>
              <a:rPr lang="da-DK" dirty="0"/>
              <a:t> by </a:t>
            </a:r>
            <a:r>
              <a:rPr lang="da-DK" dirty="0" err="1"/>
              <a:t>competitor</a:t>
            </a:r>
            <a:r>
              <a:rPr lang="da-DK" dirty="0"/>
              <a:t> </a:t>
            </a:r>
            <a:r>
              <a:rPr lang="da-DK" dirty="0" err="1"/>
              <a:t>entry</a:t>
            </a:r>
            <a:r>
              <a:rPr lang="da-DK" dirty="0"/>
              <a:t> </a:t>
            </a:r>
            <a:r>
              <a:rPr lang="da-DK" dirty="0" err="1"/>
              <a:t>mid</a:t>
            </a:r>
            <a:r>
              <a:rPr lang="da-DK" dirty="0"/>
              <a:t>-September 2024</a:t>
            </a:r>
          </a:p>
          <a:p>
            <a:pPr marL="180969" indent="-180969">
              <a:buFont typeface="Arial" pitchFamily="34" charset="0"/>
              <a:buChar char="•"/>
              <a:defRPr/>
            </a:pPr>
            <a:endParaRPr lang="da-DK" dirty="0"/>
          </a:p>
          <a:p>
            <a:pPr marL="180969" indent="-180969">
              <a:buFont typeface="Arial" pitchFamily="34" charset="0"/>
              <a:buChar char="•"/>
              <a:defRPr/>
            </a:pPr>
            <a:r>
              <a:rPr lang="da-DK" dirty="0" err="1"/>
              <a:t>Successful</a:t>
            </a:r>
            <a:r>
              <a:rPr lang="da-DK" dirty="0"/>
              <a:t> initial </a:t>
            </a:r>
            <a:r>
              <a:rPr lang="da-DK" dirty="0" err="1"/>
              <a:t>defense</a:t>
            </a:r>
            <a:r>
              <a:rPr lang="da-DK" dirty="0"/>
              <a:t> of </a:t>
            </a:r>
            <a:r>
              <a:rPr lang="da-DK" dirty="0" err="1"/>
              <a:t>market</a:t>
            </a:r>
            <a:r>
              <a:rPr lang="da-DK" dirty="0"/>
              <a:t> </a:t>
            </a:r>
            <a:r>
              <a:rPr lang="da-DK" dirty="0" err="1"/>
              <a:t>share</a:t>
            </a:r>
            <a:endParaRPr lang="da-DK" dirty="0"/>
          </a:p>
          <a:p>
            <a:pPr marL="180969" indent="-180969">
              <a:buFont typeface="Arial" pitchFamily="34" charset="0"/>
              <a:buChar char="•"/>
              <a:defRPr/>
            </a:pPr>
            <a:endParaRPr lang="da-DK" dirty="0"/>
          </a:p>
          <a:p>
            <a:pPr marL="180969" indent="-180969">
              <a:buFont typeface="Arial" pitchFamily="34" charset="0"/>
              <a:buChar char="•"/>
              <a:defRPr/>
            </a:pPr>
            <a:r>
              <a:rPr lang="da-DK" dirty="0"/>
              <a:t>Market </a:t>
            </a:r>
            <a:r>
              <a:rPr lang="da-DK" dirty="0" err="1"/>
              <a:t>expected</a:t>
            </a:r>
            <a:r>
              <a:rPr lang="da-DK" dirty="0"/>
              <a:t> to </a:t>
            </a:r>
            <a:r>
              <a:rPr lang="da-DK" dirty="0" err="1"/>
              <a:t>rebalance</a:t>
            </a:r>
            <a:r>
              <a:rPr lang="da-DK" dirty="0"/>
              <a:t> </a:t>
            </a:r>
            <a:r>
              <a:rPr lang="da-DK" dirty="0" err="1"/>
              <a:t>during</a:t>
            </a:r>
            <a:r>
              <a:rPr lang="da-DK" dirty="0"/>
              <a:t> </a:t>
            </a:r>
            <a:r>
              <a:rPr lang="da-DK" dirty="0">
                <a:highlight>
                  <a:srgbClr val="FFFFFF"/>
                </a:highlight>
              </a:rPr>
              <a:t>2025 </a:t>
            </a:r>
            <a:r>
              <a:rPr lang="da-DK" dirty="0" err="1">
                <a:highlight>
                  <a:srgbClr val="FFFFFF"/>
                </a:highlight>
              </a:rPr>
              <a:t>enabled</a:t>
            </a:r>
            <a:r>
              <a:rPr lang="da-DK" dirty="0">
                <a:highlight>
                  <a:srgbClr val="FFFFFF"/>
                </a:highlight>
              </a:rPr>
              <a:t> by </a:t>
            </a:r>
            <a:r>
              <a:rPr lang="da-DK" dirty="0" err="1"/>
              <a:t>capacity</a:t>
            </a:r>
            <a:r>
              <a:rPr lang="da-DK" dirty="0"/>
              <a:t> </a:t>
            </a:r>
            <a:r>
              <a:rPr lang="da-DK" dirty="0" err="1"/>
              <a:t>adjustments</a:t>
            </a:r>
            <a:endParaRPr lang="da-DK" dirty="0"/>
          </a:p>
        </p:txBody>
      </p:sp>
      <p:sp>
        <p:nvSpPr>
          <p:cNvPr id="2" name="Slide Number Placeholder 1">
            <a:extLst>
              <a:ext uri="{FF2B5EF4-FFF2-40B4-BE49-F238E27FC236}">
                <a16:creationId xmlns:a16="http://schemas.microsoft.com/office/drawing/2014/main" id="{7D0B7146-6F92-4689-AFE5-5007D3CD1753}"/>
              </a:ext>
            </a:extLst>
          </p:cNvPr>
          <p:cNvSpPr txBox="1">
            <a:spLocks/>
          </p:cNvSpPr>
          <p:nvPr/>
        </p:nvSpPr>
        <p:spPr>
          <a:xfrm>
            <a:off x="234975" y="6431279"/>
            <a:ext cx="323438" cy="1800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6BB336-FA68-49FA-BBEA-E8420972406D}" type="slidenum">
              <a:rPr lang="en-GB" sz="800" smtClean="0"/>
              <a:pPr/>
              <a:t>19</a:t>
            </a:fld>
            <a:endParaRPr lang="en-GB" sz="800"/>
          </a:p>
        </p:txBody>
      </p:sp>
      <p:pic>
        <p:nvPicPr>
          <p:cNvPr id="12" name="Picture Placeholder 11">
            <a:extLst>
              <a:ext uri="{FF2B5EF4-FFF2-40B4-BE49-F238E27FC236}">
                <a16:creationId xmlns:a16="http://schemas.microsoft.com/office/drawing/2014/main" id="{0403977C-8479-5030-2539-37C0CCAEC827}"/>
              </a:ext>
            </a:extLst>
          </p:cNvPr>
          <p:cNvPicPr>
            <a:picLocks noGrp="1" noChangeAspect="1"/>
          </p:cNvPicPr>
          <p:nvPr>
            <p:ph type="pic" sz="quarter" idx="18"/>
          </p:nvPr>
        </p:nvPicPr>
        <p:blipFill>
          <a:blip r:embed="rId6">
            <a:extLst>
              <a:ext uri="{28A0092B-C50C-407E-A947-70E740481C1C}">
                <a14:useLocalDpi xmlns:a14="http://schemas.microsoft.com/office/drawing/2010/main" val="0"/>
              </a:ext>
            </a:extLst>
          </a:blip>
          <a:srcRect l="21497" r="21497"/>
          <a:stretch/>
        </p:blipFill>
        <p:spPr>
          <a:xfrm>
            <a:off x="6327776" y="0"/>
            <a:ext cx="5864224" cy="6858000"/>
          </a:xfrm>
        </p:spPr>
      </p:pic>
    </p:spTree>
    <p:extLst>
      <p:ext uri="{BB962C8B-B14F-4D97-AF65-F5344CB8AC3E}">
        <p14:creationId xmlns:p14="http://schemas.microsoft.com/office/powerpoint/2010/main" val="323142800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C8EB46E-754D-4239-8498-640983F9545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8" imgH="278" progId="TCLayout.ActiveDocument.1">
                  <p:embed/>
                </p:oleObj>
              </mc:Choice>
              <mc:Fallback>
                <p:oleObj name="think-cell Slide" r:id="rId4" imgW="278" imgH="278" progId="TCLayout.ActiveDocument.1">
                  <p:embed/>
                  <p:pic>
                    <p:nvPicPr>
                      <p:cNvPr id="5" name="Object 4" hidden="1">
                        <a:extLst>
                          <a:ext uri="{FF2B5EF4-FFF2-40B4-BE49-F238E27FC236}">
                            <a16:creationId xmlns:a16="http://schemas.microsoft.com/office/drawing/2014/main" id="{1C8EB46E-754D-4239-8498-640983F9545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0D5AF93A-54B4-41D8-B519-B05CA4715B2E}"/>
              </a:ext>
            </a:extLst>
          </p:cNvPr>
          <p:cNvSpPr/>
          <p:nvPr>
            <p:custDataLst>
              <p:tags r:id="rId2"/>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da-DK" sz="2400">
              <a:solidFill>
                <a:schemeClr val="bg1"/>
              </a:solidFill>
              <a:latin typeface="DFDS Bold" panose="00000800000000000000" pitchFamily="2" charset="0"/>
              <a:ea typeface="+mj-ea"/>
              <a:cs typeface="+mj-cs"/>
              <a:sym typeface="DFDS Bold" panose="00000800000000000000" pitchFamily="2" charset="0"/>
            </a:endParaRPr>
          </a:p>
        </p:txBody>
      </p:sp>
      <p:sp>
        <p:nvSpPr>
          <p:cNvPr id="3" name="Slide Number Placeholder 2">
            <a:extLst>
              <a:ext uri="{FF2B5EF4-FFF2-40B4-BE49-F238E27FC236}">
                <a16:creationId xmlns:a16="http://schemas.microsoft.com/office/drawing/2014/main" id="{33EF6948-F973-6265-9D00-D1DBCB364075}"/>
              </a:ext>
            </a:extLst>
          </p:cNvPr>
          <p:cNvSpPr>
            <a:spLocks noGrp="1"/>
          </p:cNvSpPr>
          <p:nvPr>
            <p:ph type="sldNum" sz="quarter" idx="17"/>
          </p:nvPr>
        </p:nvSpPr>
        <p:spPr/>
        <p:txBody>
          <a:bodyPr/>
          <a:lstStyle/>
          <a:p>
            <a:fld id="{23AA811B-2EBD-4900-905E-5BE206449611}" type="slidenum">
              <a:rPr lang="en-GB" smtClean="0"/>
              <a:pPr/>
              <a:t>2</a:t>
            </a:fld>
            <a:endParaRPr lang="en-GB"/>
          </a:p>
        </p:txBody>
      </p:sp>
      <p:sp>
        <p:nvSpPr>
          <p:cNvPr id="39" name="Rectangle 4">
            <a:extLst>
              <a:ext uri="{FF2B5EF4-FFF2-40B4-BE49-F238E27FC236}">
                <a16:creationId xmlns:a16="http://schemas.microsoft.com/office/drawing/2014/main" id="{C6DF9423-C3E0-4078-B910-4D21683DA3FF}"/>
              </a:ext>
            </a:extLst>
          </p:cNvPr>
          <p:cNvSpPr>
            <a:spLocks noGrp="1" noChangeArrowheads="1"/>
          </p:cNvSpPr>
          <p:nvPr>
            <p:ph type="title"/>
          </p:nvPr>
        </p:nvSpPr>
        <p:spPr/>
        <p:txBody>
          <a:bodyPr vert="horz" wrap="square" lIns="0" tIns="0" rIns="0" bIns="0" rtlCol="0" anchor="ctr">
            <a:noAutofit/>
          </a:bodyPr>
          <a:lstStyle/>
          <a:p>
            <a:r>
              <a:rPr lang="da-DK"/>
              <a:t>Q4 &amp; FY 2024 investor call agenda</a:t>
            </a:r>
            <a:endParaRPr lang="en-US"/>
          </a:p>
        </p:txBody>
      </p:sp>
      <p:sp>
        <p:nvSpPr>
          <p:cNvPr id="2" name="Text Placeholder 1">
            <a:extLst>
              <a:ext uri="{FF2B5EF4-FFF2-40B4-BE49-F238E27FC236}">
                <a16:creationId xmlns:a16="http://schemas.microsoft.com/office/drawing/2014/main" id="{96345C3E-04BA-9BB8-B164-3EE04BE9AA79}"/>
              </a:ext>
            </a:extLst>
          </p:cNvPr>
          <p:cNvSpPr>
            <a:spLocks noGrp="1"/>
          </p:cNvSpPr>
          <p:nvPr>
            <p:ph type="body" sz="quarter" idx="13"/>
          </p:nvPr>
        </p:nvSpPr>
        <p:spPr/>
        <p:txBody>
          <a:bodyPr/>
          <a:lstStyle/>
          <a:p>
            <a:pPr>
              <a:spcAft>
                <a:spcPts val="0"/>
              </a:spcAft>
            </a:pPr>
            <a:endParaRPr lang="da-DK" sz="2800"/>
          </a:p>
          <a:p>
            <a:pPr marL="357188" indent="-357188">
              <a:spcBef>
                <a:spcPts val="600"/>
              </a:spcBef>
            </a:pPr>
            <a:r>
              <a:rPr lang="da-DK" sz="2800"/>
              <a:t>Introduction </a:t>
            </a:r>
          </a:p>
          <a:p>
            <a:pPr marL="357188" indent="-357188">
              <a:spcBef>
                <a:spcPts val="600"/>
              </a:spcBef>
            </a:pPr>
            <a:r>
              <a:rPr lang="da-DK" sz="2800"/>
              <a:t>Q4 &amp; FY overview</a:t>
            </a:r>
          </a:p>
          <a:p>
            <a:pPr marL="357188" indent="-357188">
              <a:spcBef>
                <a:spcPts val="600"/>
              </a:spcBef>
            </a:pPr>
            <a:r>
              <a:rPr lang="da-DK" sz="2800"/>
              <a:t>Moving to Green</a:t>
            </a:r>
          </a:p>
          <a:p>
            <a:pPr marL="357188" indent="-357188">
              <a:spcBef>
                <a:spcPts val="600"/>
              </a:spcBef>
            </a:pPr>
            <a:r>
              <a:rPr lang="da-DK" sz="2800"/>
              <a:t>2025 focus areas</a:t>
            </a:r>
          </a:p>
          <a:p>
            <a:pPr marL="357188" indent="-357188">
              <a:spcBef>
                <a:spcPts val="600"/>
              </a:spcBef>
            </a:pPr>
            <a:r>
              <a:rPr lang="da-DK" sz="2800"/>
              <a:t>Outlook &amp; priorities</a:t>
            </a:r>
          </a:p>
        </p:txBody>
      </p:sp>
      <p:sp>
        <p:nvSpPr>
          <p:cNvPr id="41" name="TextBox 8">
            <a:extLst>
              <a:ext uri="{FF2B5EF4-FFF2-40B4-BE49-F238E27FC236}">
                <a16:creationId xmlns:a16="http://schemas.microsoft.com/office/drawing/2014/main" id="{D387D46F-34F7-48A9-A510-23DBE8B25996}"/>
              </a:ext>
            </a:extLst>
          </p:cNvPr>
          <p:cNvSpPr txBox="1">
            <a:spLocks noChangeArrowheads="1"/>
          </p:cNvSpPr>
          <p:nvPr/>
        </p:nvSpPr>
        <p:spPr bwMode="auto">
          <a:xfrm>
            <a:off x="11501438" y="1285875"/>
            <a:ext cx="1847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atin typeface="DFDS Light" panose="02000300000000020000" pitchFamily="2" charset="0"/>
            </a:endParaRPr>
          </a:p>
        </p:txBody>
      </p:sp>
      <p:sp>
        <p:nvSpPr>
          <p:cNvPr id="4" name="Slide Number Placeholder 2">
            <a:extLst>
              <a:ext uri="{FF2B5EF4-FFF2-40B4-BE49-F238E27FC236}">
                <a16:creationId xmlns:a16="http://schemas.microsoft.com/office/drawing/2014/main" id="{323DB3FA-7D80-D713-FBCB-2D43F1BD824B}"/>
              </a:ext>
            </a:extLst>
          </p:cNvPr>
          <p:cNvSpPr txBox="1">
            <a:spLocks/>
          </p:cNvSpPr>
          <p:nvPr/>
        </p:nvSpPr>
        <p:spPr>
          <a:xfrm>
            <a:off x="210883" y="6431279"/>
            <a:ext cx="467544" cy="1800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6BB336-FA68-49FA-BBEA-E8420972406D}" type="slidenum">
              <a:rPr lang="en-GB" sz="800" smtClean="0">
                <a:solidFill>
                  <a:schemeClr val="bg1"/>
                </a:solidFill>
              </a:rPr>
              <a:pPr/>
              <a:t>2</a:t>
            </a:fld>
            <a:endParaRPr lang="en-GB" sz="800">
              <a:solidFill>
                <a:schemeClr val="bg1"/>
              </a:solidFill>
            </a:endParaRPr>
          </a:p>
        </p:txBody>
      </p:sp>
    </p:spTree>
    <p:extLst>
      <p:ext uri="{BB962C8B-B14F-4D97-AF65-F5344CB8AC3E}">
        <p14:creationId xmlns:p14="http://schemas.microsoft.com/office/powerpoint/2010/main" val="256871693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81A03F-9FFF-E7E9-F4B1-57039DAE81DF}"/>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18AEE71-8171-EDD9-B3BF-45CCE684717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8" imgH="278" progId="TCLayout.ActiveDocument.1">
                  <p:embed/>
                </p:oleObj>
              </mc:Choice>
              <mc:Fallback>
                <p:oleObj name="think-cell Slide" r:id="rId4" imgW="278" imgH="278" progId="TCLayout.ActiveDocument.1">
                  <p:embed/>
                  <p:pic>
                    <p:nvPicPr>
                      <p:cNvPr id="5" name="Object 4" hidden="1">
                        <a:extLst>
                          <a:ext uri="{FF2B5EF4-FFF2-40B4-BE49-F238E27FC236}">
                            <a16:creationId xmlns:a16="http://schemas.microsoft.com/office/drawing/2014/main" id="{1C8EB46E-754D-4239-8498-640983F9545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339807B1-E890-97FB-A341-82394F869E56}"/>
              </a:ext>
            </a:extLst>
          </p:cNvPr>
          <p:cNvSpPr/>
          <p:nvPr>
            <p:custDataLst>
              <p:tags r:id="rId2"/>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da-DK" sz="2400" dirty="0">
              <a:solidFill>
                <a:schemeClr val="bg1"/>
              </a:solidFill>
              <a:latin typeface="DFDS Bold" panose="00000800000000000000" pitchFamily="2" charset="0"/>
              <a:ea typeface="+mj-ea"/>
              <a:cs typeface="+mj-cs"/>
              <a:sym typeface="DFDS Bold" panose="00000800000000000000" pitchFamily="2" charset="0"/>
            </a:endParaRPr>
          </a:p>
        </p:txBody>
      </p:sp>
      <p:sp>
        <p:nvSpPr>
          <p:cNvPr id="16" name="Rectangle 4">
            <a:extLst>
              <a:ext uri="{FF2B5EF4-FFF2-40B4-BE49-F238E27FC236}">
                <a16:creationId xmlns:a16="http://schemas.microsoft.com/office/drawing/2014/main" id="{E2D6CEE8-40A8-B66C-8C3B-5A362F2A6163}"/>
              </a:ext>
            </a:extLst>
          </p:cNvPr>
          <p:cNvSpPr txBox="1">
            <a:spLocks noChangeArrowheads="1"/>
          </p:cNvSpPr>
          <p:nvPr/>
        </p:nvSpPr>
        <p:spPr>
          <a:xfrm>
            <a:off x="277826" y="277826"/>
            <a:ext cx="5727687" cy="785812"/>
          </a:xfrm>
          <a:prstGeom prst="rect">
            <a:avLst/>
          </a:prstGeom>
        </p:spPr>
        <p:txBody>
          <a:bodyPr vert="horz" wrap="square" lIns="0" tIns="0" rIns="0" bIns="0" rtlCol="0" anchor="t">
            <a:noAutofit/>
          </a:bodyPr>
          <a:lstStyle>
            <a:defPPr>
              <a:defRPr lang="en-US"/>
            </a:defPPr>
            <a:lvl1pPr>
              <a:lnSpc>
                <a:spcPct val="90000"/>
              </a:lnSpc>
              <a:spcBef>
                <a:spcPct val="0"/>
              </a:spcBef>
              <a:buNone/>
              <a:defRPr sz="3200" cap="none" baseline="0">
                <a:solidFill>
                  <a:schemeClr val="accent1"/>
                </a:solidFill>
                <a:latin typeface="+mj-lt"/>
                <a:ea typeface="+mj-ea"/>
                <a:cs typeface="+mj-cs"/>
              </a:defRPr>
            </a:lvl1pPr>
          </a:lstStyle>
          <a:p>
            <a:r>
              <a:rPr lang="da-DK"/>
              <a:t>Turkiye &amp; </a:t>
            </a:r>
            <a:r>
              <a:rPr lang="da-DK" dirty="0"/>
              <a:t>Europe South logistics turnaround on track</a:t>
            </a:r>
            <a:endParaRPr lang="en-US" dirty="0"/>
          </a:p>
        </p:txBody>
      </p:sp>
      <p:sp>
        <p:nvSpPr>
          <p:cNvPr id="18" name="TextBox 8">
            <a:extLst>
              <a:ext uri="{FF2B5EF4-FFF2-40B4-BE49-F238E27FC236}">
                <a16:creationId xmlns:a16="http://schemas.microsoft.com/office/drawing/2014/main" id="{EDC3D8BD-DB8B-06B2-008E-063DA4DDC135}"/>
              </a:ext>
            </a:extLst>
          </p:cNvPr>
          <p:cNvSpPr txBox="1">
            <a:spLocks noChangeArrowheads="1"/>
          </p:cNvSpPr>
          <p:nvPr/>
        </p:nvSpPr>
        <p:spPr bwMode="auto">
          <a:xfrm>
            <a:off x="11501438" y="1285875"/>
            <a:ext cx="1847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atin typeface="DFDS Light" panose="02000300000000020000" pitchFamily="2" charset="0"/>
            </a:endParaRPr>
          </a:p>
        </p:txBody>
      </p:sp>
      <p:sp>
        <p:nvSpPr>
          <p:cNvPr id="19" name="Content Placeholder 7">
            <a:extLst>
              <a:ext uri="{FF2B5EF4-FFF2-40B4-BE49-F238E27FC236}">
                <a16:creationId xmlns:a16="http://schemas.microsoft.com/office/drawing/2014/main" id="{87EA94BA-A0EA-8DD0-7ECD-C46DC3EF26BF}"/>
              </a:ext>
            </a:extLst>
          </p:cNvPr>
          <p:cNvSpPr txBox="1">
            <a:spLocks/>
          </p:cNvSpPr>
          <p:nvPr/>
        </p:nvSpPr>
        <p:spPr bwMode="auto">
          <a:xfrm>
            <a:off x="274228" y="1687420"/>
            <a:ext cx="3938997" cy="3924300"/>
          </a:xfrm>
          <a:prstGeom prst="rect">
            <a:avLst/>
          </a:prstGeom>
          <a:noFill/>
          <a:ln w="9525">
            <a:noFill/>
            <a:miter lim="800000"/>
            <a:headEnd/>
            <a:tailEnd/>
          </a:ln>
        </p:spPr>
        <p:txBody>
          <a:bodyPr lIns="0" tIns="0" rIns="0" bIns="0"/>
          <a:lstStyle/>
          <a:p>
            <a:pPr marL="180969" indent="-180969">
              <a:buFont typeface="Arial" pitchFamily="34" charset="0"/>
              <a:buChar char="•"/>
              <a:defRPr/>
            </a:pPr>
            <a:r>
              <a:rPr lang="en-GB" dirty="0"/>
              <a:t>Progress in line with breakeven target for year-end 2025</a:t>
            </a:r>
          </a:p>
          <a:p>
            <a:pPr marL="180969" indent="-180969">
              <a:buFont typeface="Arial" pitchFamily="34" charset="0"/>
              <a:buChar char="•"/>
              <a:defRPr/>
            </a:pPr>
            <a:endParaRPr lang="en-GB" dirty="0"/>
          </a:p>
          <a:p>
            <a:pPr marL="180969" indent="-180969">
              <a:buFont typeface="Arial" pitchFamily="34" charset="0"/>
              <a:buChar char="•"/>
              <a:defRPr/>
            </a:pPr>
            <a:r>
              <a:rPr lang="en-GB" dirty="0"/>
              <a:t>Organisational restructuring impacts 125 Istanbul office employees </a:t>
            </a:r>
          </a:p>
          <a:p>
            <a:pPr marL="180969" indent="-180969">
              <a:buFont typeface="Arial" pitchFamily="34" charset="0"/>
              <a:buChar char="•"/>
              <a:defRPr/>
            </a:pPr>
            <a:endParaRPr lang="en-GB" dirty="0"/>
          </a:p>
          <a:p>
            <a:pPr marL="180969" indent="-180969">
              <a:buFont typeface="Arial" pitchFamily="34" charset="0"/>
              <a:buChar char="•"/>
              <a:defRPr/>
            </a:pPr>
            <a:r>
              <a:rPr lang="en-GB" dirty="0"/>
              <a:t>First results from cross-selling DFDS’ European network</a:t>
            </a:r>
          </a:p>
          <a:p>
            <a:pPr marL="180969" indent="-180969">
              <a:buFont typeface="Arial" pitchFamily="34" charset="0"/>
              <a:buChar char="•"/>
              <a:defRPr/>
            </a:pPr>
            <a:endParaRPr lang="en-GB" dirty="0"/>
          </a:p>
          <a:p>
            <a:pPr marL="180969" indent="-180969">
              <a:buFont typeface="Arial" pitchFamily="34" charset="0"/>
              <a:buChar char="•"/>
              <a:defRPr/>
            </a:pPr>
            <a:r>
              <a:rPr lang="en-GB" dirty="0"/>
              <a:t>Rightsizing of equipment fleet ongoing – subcontracted haulage planned to increase</a:t>
            </a:r>
          </a:p>
          <a:p>
            <a:pPr marL="180969" indent="-180969">
              <a:buFont typeface="Arial" pitchFamily="34" charset="0"/>
              <a:buChar char="•"/>
              <a:defRPr/>
            </a:pPr>
            <a:endParaRPr lang="en-GB" dirty="0"/>
          </a:p>
          <a:p>
            <a:pPr marL="180969" indent="-180969">
              <a:buFont typeface="Arial" pitchFamily="34" charset="0"/>
              <a:buChar char="•"/>
              <a:defRPr/>
            </a:pPr>
            <a:r>
              <a:rPr lang="en-GB" dirty="0"/>
              <a:t>Optimisation of European network</a:t>
            </a:r>
            <a:endParaRPr lang="da-DK" dirty="0">
              <a:highlight>
                <a:srgbClr val="FFFF00"/>
              </a:highlight>
            </a:endParaRPr>
          </a:p>
        </p:txBody>
      </p:sp>
      <p:sp>
        <p:nvSpPr>
          <p:cNvPr id="2" name="Slide Number Placeholder 1">
            <a:extLst>
              <a:ext uri="{FF2B5EF4-FFF2-40B4-BE49-F238E27FC236}">
                <a16:creationId xmlns:a16="http://schemas.microsoft.com/office/drawing/2014/main" id="{333FA21B-8E84-0E71-088C-B7FE5336423F}"/>
              </a:ext>
            </a:extLst>
          </p:cNvPr>
          <p:cNvSpPr txBox="1">
            <a:spLocks/>
          </p:cNvSpPr>
          <p:nvPr/>
        </p:nvSpPr>
        <p:spPr>
          <a:xfrm>
            <a:off x="234975" y="6431279"/>
            <a:ext cx="323438" cy="1800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6BB336-FA68-49FA-BBEA-E8420972406D}" type="slidenum">
              <a:rPr lang="en-GB" sz="800" smtClean="0"/>
              <a:pPr/>
              <a:t>20</a:t>
            </a:fld>
            <a:endParaRPr lang="en-GB" sz="800"/>
          </a:p>
        </p:txBody>
      </p:sp>
      <p:pic>
        <p:nvPicPr>
          <p:cNvPr id="12" name="Picture Placeholder 11">
            <a:extLst>
              <a:ext uri="{FF2B5EF4-FFF2-40B4-BE49-F238E27FC236}">
                <a16:creationId xmlns:a16="http://schemas.microsoft.com/office/drawing/2014/main" id="{34498FF2-9D0C-82C0-2C31-947CB6A4F3AC}"/>
              </a:ext>
            </a:extLst>
          </p:cNvPr>
          <p:cNvPicPr>
            <a:picLocks noGrp="1" noChangeAspect="1"/>
          </p:cNvPicPr>
          <p:nvPr>
            <p:ph type="pic" sz="quarter" idx="18"/>
          </p:nvPr>
        </p:nvPicPr>
        <p:blipFill>
          <a:blip r:embed="rId6">
            <a:extLst>
              <a:ext uri="{28A0092B-C50C-407E-A947-70E740481C1C}">
                <a14:useLocalDpi xmlns:a14="http://schemas.microsoft.com/office/drawing/2010/main" val="0"/>
              </a:ext>
            </a:extLst>
          </a:blip>
          <a:srcRect l="21566" r="21566"/>
          <a:stretch/>
        </p:blipFill>
        <p:spPr>
          <a:xfrm>
            <a:off x="6327776" y="0"/>
            <a:ext cx="5864224" cy="6858000"/>
          </a:xfrm>
        </p:spPr>
      </p:pic>
    </p:spTree>
    <p:extLst>
      <p:ext uri="{BB962C8B-B14F-4D97-AF65-F5344CB8AC3E}">
        <p14:creationId xmlns:p14="http://schemas.microsoft.com/office/powerpoint/2010/main" val="358692868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457ED2-0FE4-9C2A-A898-59626A7F3D85}"/>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A173864-2320-5EB0-A328-38955E60A7C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8" imgH="278" progId="TCLayout.ActiveDocument.1">
                  <p:embed/>
                </p:oleObj>
              </mc:Choice>
              <mc:Fallback>
                <p:oleObj name="think-cell Slide" r:id="rId4" imgW="278" imgH="278" progId="TCLayout.ActiveDocument.1">
                  <p:embed/>
                  <p:pic>
                    <p:nvPicPr>
                      <p:cNvPr id="5" name="Object 4" hidden="1">
                        <a:extLst>
                          <a:ext uri="{FF2B5EF4-FFF2-40B4-BE49-F238E27FC236}">
                            <a16:creationId xmlns:a16="http://schemas.microsoft.com/office/drawing/2014/main" id="{B18AEE71-8171-EDD9-B3BF-45CCE684717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B0748F5-1CEB-93C9-F245-53A79C281446}"/>
              </a:ext>
            </a:extLst>
          </p:cNvPr>
          <p:cNvSpPr/>
          <p:nvPr>
            <p:custDataLst>
              <p:tags r:id="rId2"/>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da-DK" sz="2400" dirty="0">
              <a:solidFill>
                <a:schemeClr val="bg1"/>
              </a:solidFill>
              <a:latin typeface="DFDS Bold" panose="00000800000000000000" pitchFamily="2" charset="0"/>
              <a:ea typeface="+mj-ea"/>
              <a:cs typeface="+mj-cs"/>
              <a:sym typeface="DFDS Bold" panose="00000800000000000000" pitchFamily="2" charset="0"/>
            </a:endParaRPr>
          </a:p>
        </p:txBody>
      </p:sp>
      <p:sp>
        <p:nvSpPr>
          <p:cNvPr id="16" name="Rectangle 4">
            <a:extLst>
              <a:ext uri="{FF2B5EF4-FFF2-40B4-BE49-F238E27FC236}">
                <a16:creationId xmlns:a16="http://schemas.microsoft.com/office/drawing/2014/main" id="{DB349853-6139-0F91-78A7-B899905CBFA8}"/>
              </a:ext>
            </a:extLst>
          </p:cNvPr>
          <p:cNvSpPr txBox="1">
            <a:spLocks noChangeArrowheads="1"/>
          </p:cNvSpPr>
          <p:nvPr/>
        </p:nvSpPr>
        <p:spPr>
          <a:xfrm>
            <a:off x="277826" y="277826"/>
            <a:ext cx="8807180" cy="785812"/>
          </a:xfrm>
          <a:prstGeom prst="rect">
            <a:avLst/>
          </a:prstGeom>
        </p:spPr>
        <p:txBody>
          <a:bodyPr vert="horz" wrap="square" lIns="0" tIns="0" rIns="0" bIns="0" rtlCol="0" anchor="t">
            <a:noAutofit/>
          </a:bodyPr>
          <a:lstStyle>
            <a:defPPr>
              <a:defRPr lang="en-US"/>
            </a:defPPr>
            <a:lvl1pPr>
              <a:lnSpc>
                <a:spcPct val="90000"/>
              </a:lnSpc>
              <a:spcBef>
                <a:spcPct val="0"/>
              </a:spcBef>
              <a:buNone/>
              <a:defRPr sz="3200" cap="none" baseline="0">
                <a:solidFill>
                  <a:schemeClr val="accent1"/>
                </a:solidFill>
                <a:latin typeface="+mj-lt"/>
                <a:ea typeface="+mj-ea"/>
                <a:cs typeface="+mj-cs"/>
              </a:defRPr>
            </a:lvl1pPr>
          </a:lstStyle>
          <a:p>
            <a:r>
              <a:rPr lang="da-DK" dirty="0"/>
              <a:t>Deliver on Logistics Boost projects</a:t>
            </a:r>
            <a:endParaRPr lang="en-US" dirty="0"/>
          </a:p>
        </p:txBody>
      </p:sp>
      <p:sp>
        <p:nvSpPr>
          <p:cNvPr id="18" name="TextBox 8">
            <a:extLst>
              <a:ext uri="{FF2B5EF4-FFF2-40B4-BE49-F238E27FC236}">
                <a16:creationId xmlns:a16="http://schemas.microsoft.com/office/drawing/2014/main" id="{A4301420-7D50-4DD1-B841-6AE07F838596}"/>
              </a:ext>
            </a:extLst>
          </p:cNvPr>
          <p:cNvSpPr txBox="1">
            <a:spLocks noChangeArrowheads="1"/>
          </p:cNvSpPr>
          <p:nvPr/>
        </p:nvSpPr>
        <p:spPr bwMode="auto">
          <a:xfrm>
            <a:off x="11501438" y="1285875"/>
            <a:ext cx="1847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atin typeface="DFDS Light" panose="02000300000000020000" pitchFamily="2" charset="0"/>
            </a:endParaRPr>
          </a:p>
        </p:txBody>
      </p:sp>
      <p:sp>
        <p:nvSpPr>
          <p:cNvPr id="19" name="Content Placeholder 7">
            <a:extLst>
              <a:ext uri="{FF2B5EF4-FFF2-40B4-BE49-F238E27FC236}">
                <a16:creationId xmlns:a16="http://schemas.microsoft.com/office/drawing/2014/main" id="{F9D0849A-0794-9B7D-97BB-0F1B33F005C7}"/>
              </a:ext>
            </a:extLst>
          </p:cNvPr>
          <p:cNvSpPr txBox="1">
            <a:spLocks/>
          </p:cNvSpPr>
          <p:nvPr/>
        </p:nvSpPr>
        <p:spPr bwMode="auto">
          <a:xfrm>
            <a:off x="274227" y="2001974"/>
            <a:ext cx="3759611" cy="3924300"/>
          </a:xfrm>
          <a:prstGeom prst="rect">
            <a:avLst/>
          </a:prstGeom>
          <a:noFill/>
          <a:ln w="9525">
            <a:noFill/>
            <a:miter lim="800000"/>
            <a:headEnd/>
            <a:tailEnd/>
          </a:ln>
        </p:spPr>
        <p:txBody>
          <a:bodyPr lIns="0" tIns="0" rIns="0" bIns="0"/>
          <a:lstStyle/>
          <a:p>
            <a:pPr marL="180969" indent="-180969">
              <a:buFont typeface="Arial" pitchFamily="34" charset="0"/>
              <a:buChar char="•"/>
              <a:defRPr/>
            </a:pPr>
            <a:r>
              <a:rPr lang="da-DK" dirty="0"/>
              <a:t>Eight Boost projects initiated in 2024</a:t>
            </a:r>
          </a:p>
          <a:p>
            <a:pPr marL="180969" indent="-180969">
              <a:buFont typeface="Arial" pitchFamily="34" charset="0"/>
              <a:buChar char="•"/>
              <a:defRPr/>
            </a:pPr>
            <a:endParaRPr lang="da-DK" dirty="0"/>
          </a:p>
          <a:p>
            <a:pPr marL="180969" indent="-180969">
              <a:buFont typeface="Arial" pitchFamily="34" charset="0"/>
              <a:buChar char="•"/>
              <a:defRPr/>
            </a:pPr>
            <a:r>
              <a:rPr lang="da-DK" dirty="0"/>
              <a:t>Earnings impacted by combination of external forces and underperformance</a:t>
            </a:r>
          </a:p>
          <a:p>
            <a:pPr marL="180969" indent="-180969">
              <a:buFont typeface="Arial" pitchFamily="34" charset="0"/>
              <a:buChar char="•"/>
              <a:defRPr/>
            </a:pPr>
            <a:endParaRPr lang="da-DK" dirty="0"/>
          </a:p>
          <a:p>
            <a:pPr marL="180969" indent="-180969">
              <a:buFont typeface="Arial" pitchFamily="34" charset="0"/>
              <a:buChar char="•"/>
              <a:defRPr/>
            </a:pPr>
            <a:r>
              <a:rPr lang="da-DK"/>
              <a:t>Focused </a:t>
            </a:r>
            <a:r>
              <a:rPr lang="da-DK" dirty="0"/>
              <a:t>review and reporting process in place </a:t>
            </a:r>
          </a:p>
        </p:txBody>
      </p:sp>
      <p:sp>
        <p:nvSpPr>
          <p:cNvPr id="2" name="Slide Number Placeholder 1">
            <a:extLst>
              <a:ext uri="{FF2B5EF4-FFF2-40B4-BE49-F238E27FC236}">
                <a16:creationId xmlns:a16="http://schemas.microsoft.com/office/drawing/2014/main" id="{F02F4913-C9C1-2B74-CA64-79162B2B015A}"/>
              </a:ext>
            </a:extLst>
          </p:cNvPr>
          <p:cNvSpPr txBox="1">
            <a:spLocks/>
          </p:cNvSpPr>
          <p:nvPr/>
        </p:nvSpPr>
        <p:spPr>
          <a:xfrm>
            <a:off x="234975" y="6431279"/>
            <a:ext cx="323438" cy="1800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6BB336-FA68-49FA-BBEA-E8420972406D}" type="slidenum">
              <a:rPr lang="en-GB" sz="800" smtClean="0"/>
              <a:pPr/>
              <a:t>21</a:t>
            </a:fld>
            <a:endParaRPr lang="en-GB" sz="800"/>
          </a:p>
        </p:txBody>
      </p:sp>
      <p:graphicFrame>
        <p:nvGraphicFramePr>
          <p:cNvPr id="8" name="Table 7">
            <a:extLst>
              <a:ext uri="{FF2B5EF4-FFF2-40B4-BE49-F238E27FC236}">
                <a16:creationId xmlns:a16="http://schemas.microsoft.com/office/drawing/2014/main" id="{EA97E053-3EEF-E6B6-C3FE-EB179C90A077}"/>
              </a:ext>
            </a:extLst>
          </p:cNvPr>
          <p:cNvGraphicFramePr>
            <a:graphicFrameLocks noGrp="1"/>
          </p:cNvGraphicFramePr>
          <p:nvPr>
            <p:extLst>
              <p:ext uri="{D42A27DB-BD31-4B8C-83A1-F6EECF244321}">
                <p14:modId xmlns:p14="http://schemas.microsoft.com/office/powerpoint/2010/main" val="3122838006"/>
              </p:ext>
            </p:extLst>
          </p:nvPr>
        </p:nvGraphicFramePr>
        <p:xfrm>
          <a:off x="5744494" y="2001974"/>
          <a:ext cx="6176044" cy="3548768"/>
        </p:xfrm>
        <a:graphic>
          <a:graphicData uri="http://schemas.openxmlformats.org/drawingml/2006/table">
            <a:tbl>
              <a:tblPr firstRow="1" bandRow="1">
                <a:tableStyleId>{69012ECD-51FC-41F1-AA8D-1B2483CD663E}</a:tableStyleId>
              </a:tblPr>
              <a:tblGrid>
                <a:gridCol w="1544011">
                  <a:extLst>
                    <a:ext uri="{9D8B030D-6E8A-4147-A177-3AD203B41FA5}">
                      <a16:colId xmlns:a16="http://schemas.microsoft.com/office/drawing/2014/main" val="4202229949"/>
                    </a:ext>
                  </a:extLst>
                </a:gridCol>
                <a:gridCol w="1544011">
                  <a:extLst>
                    <a:ext uri="{9D8B030D-6E8A-4147-A177-3AD203B41FA5}">
                      <a16:colId xmlns:a16="http://schemas.microsoft.com/office/drawing/2014/main" val="1384562137"/>
                    </a:ext>
                  </a:extLst>
                </a:gridCol>
                <a:gridCol w="1544011">
                  <a:extLst>
                    <a:ext uri="{9D8B030D-6E8A-4147-A177-3AD203B41FA5}">
                      <a16:colId xmlns:a16="http://schemas.microsoft.com/office/drawing/2014/main" val="3808852834"/>
                    </a:ext>
                  </a:extLst>
                </a:gridCol>
                <a:gridCol w="1544011">
                  <a:extLst>
                    <a:ext uri="{9D8B030D-6E8A-4147-A177-3AD203B41FA5}">
                      <a16:colId xmlns:a16="http://schemas.microsoft.com/office/drawing/2014/main" val="733545491"/>
                    </a:ext>
                  </a:extLst>
                </a:gridCol>
              </a:tblGrid>
              <a:tr h="519151">
                <a:tc gridSpan="4">
                  <a:txBody>
                    <a:bodyPr/>
                    <a:lstStyle/>
                    <a:p>
                      <a:pPr algn="ctr"/>
                      <a:r>
                        <a:rPr lang="da-DK" sz="1600">
                          <a:solidFill>
                            <a:schemeClr val="tx1"/>
                          </a:solidFill>
                          <a:latin typeface="DFDS Sans Offc" panose="00000500000000000000" pitchFamily="2" charset="0"/>
                        </a:rPr>
                        <a:t>Logistics Boost turnaround projects initiated in 2024</a:t>
                      </a:r>
                    </a:p>
                  </a:txBody>
                  <a:tcPr anchor="ctr">
                    <a:noFill/>
                  </a:tcPr>
                </a:tc>
                <a:tc hMerge="1">
                  <a:txBody>
                    <a:bodyPr/>
                    <a:lstStyle/>
                    <a:p>
                      <a:endParaRPr lang="da-DK" sz="1200">
                        <a:solidFill>
                          <a:schemeClr val="tx1"/>
                        </a:solidFill>
                        <a:latin typeface="DFDS Sans Offc" panose="00000500000000000000" pitchFamily="2" charset="0"/>
                      </a:endParaRPr>
                    </a:p>
                  </a:txBody>
                  <a:tcPr>
                    <a:noFill/>
                  </a:tcPr>
                </a:tc>
                <a:tc hMerge="1">
                  <a:txBody>
                    <a:bodyPr/>
                    <a:lstStyle/>
                    <a:p>
                      <a:endParaRPr lang="da-DK" sz="1200">
                        <a:solidFill>
                          <a:schemeClr val="tx1"/>
                        </a:solidFill>
                        <a:latin typeface="DFDS Sans Offc" panose="00000500000000000000" pitchFamily="2" charset="0"/>
                      </a:endParaRPr>
                    </a:p>
                  </a:txBody>
                  <a:tcPr>
                    <a:noFill/>
                  </a:tcPr>
                </a:tc>
                <a:tc hMerge="1">
                  <a:txBody>
                    <a:bodyPr/>
                    <a:lstStyle/>
                    <a:p>
                      <a:endParaRPr lang="da-DK" sz="1200">
                        <a:solidFill>
                          <a:schemeClr val="tx1"/>
                        </a:solidFill>
                        <a:latin typeface="DFDS Sans Offc" panose="00000500000000000000" pitchFamily="2" charset="0"/>
                      </a:endParaRPr>
                    </a:p>
                  </a:txBody>
                  <a:tcPr>
                    <a:noFill/>
                  </a:tcPr>
                </a:tc>
                <a:extLst>
                  <a:ext uri="{0D108BD9-81ED-4DB2-BD59-A6C34878D82A}">
                    <a16:rowId xmlns:a16="http://schemas.microsoft.com/office/drawing/2014/main" val="426335154"/>
                  </a:ext>
                </a:extLst>
              </a:tr>
              <a:tr h="810729">
                <a:tc>
                  <a:txBody>
                    <a:bodyPr/>
                    <a:lstStyle/>
                    <a:p>
                      <a:r>
                        <a:rPr lang="da-DK" sz="1600" b="1">
                          <a:solidFill>
                            <a:schemeClr val="tx1"/>
                          </a:solidFill>
                          <a:latin typeface="DFDS Sans Offc" panose="00000500000000000000" pitchFamily="2" charset="0"/>
                        </a:rPr>
                        <a:t>Cold chain</a:t>
                      </a:r>
                    </a:p>
                  </a:txBody>
                  <a:tcPr>
                    <a:noFill/>
                  </a:tcPr>
                </a:tc>
                <a:tc>
                  <a:txBody>
                    <a:bodyPr/>
                    <a:lstStyle/>
                    <a:p>
                      <a:r>
                        <a:rPr lang="da-DK" sz="1600" b="1">
                          <a:solidFill>
                            <a:schemeClr val="tx1"/>
                          </a:solidFill>
                          <a:latin typeface="DFDS Sans Offc" panose="00000500000000000000" pitchFamily="2" charset="0"/>
                        </a:rPr>
                        <a:t>Automotive</a:t>
                      </a:r>
                    </a:p>
                  </a:txBody>
                  <a:tcPr>
                    <a:noFill/>
                  </a:tcPr>
                </a:tc>
                <a:tc>
                  <a:txBody>
                    <a:bodyPr/>
                    <a:lstStyle/>
                    <a:p>
                      <a:r>
                        <a:rPr lang="da-DK" sz="1600" b="1">
                          <a:solidFill>
                            <a:schemeClr val="tx1"/>
                          </a:solidFill>
                          <a:latin typeface="DFDS Sans Offc" panose="00000500000000000000" pitchFamily="2" charset="0"/>
                        </a:rPr>
                        <a:t>Market slowdown</a:t>
                      </a:r>
                    </a:p>
                  </a:txBody>
                  <a:tcPr>
                    <a:noFill/>
                  </a:tcPr>
                </a:tc>
                <a:tc>
                  <a:txBody>
                    <a:bodyPr/>
                    <a:lstStyle/>
                    <a:p>
                      <a:r>
                        <a:rPr lang="da-DK" sz="1600" b="1">
                          <a:solidFill>
                            <a:schemeClr val="tx1"/>
                          </a:solidFill>
                          <a:latin typeface="DFDS Sans Offc" panose="00000500000000000000" pitchFamily="2" charset="0"/>
                        </a:rPr>
                        <a:t>Geopolitical</a:t>
                      </a:r>
                    </a:p>
                  </a:txBody>
                  <a:tcPr>
                    <a:noFill/>
                  </a:tcPr>
                </a:tc>
                <a:extLst>
                  <a:ext uri="{0D108BD9-81ED-4DB2-BD59-A6C34878D82A}">
                    <a16:rowId xmlns:a16="http://schemas.microsoft.com/office/drawing/2014/main" val="118369367"/>
                  </a:ext>
                </a:extLst>
              </a:tr>
              <a:tr h="810729">
                <a:tc>
                  <a:txBody>
                    <a:bodyPr/>
                    <a:lstStyle/>
                    <a:p>
                      <a:r>
                        <a:rPr lang="da-DK" sz="1600">
                          <a:solidFill>
                            <a:schemeClr val="accent2"/>
                          </a:solidFill>
                          <a:latin typeface="DFDS Sans Offc" panose="00000500000000000000" pitchFamily="2" charset="0"/>
                        </a:rPr>
                        <a:t>Denmark domestic</a:t>
                      </a:r>
                    </a:p>
                  </a:txBody>
                  <a:tcPr>
                    <a:noFill/>
                  </a:tcPr>
                </a:tc>
                <a:tc>
                  <a:txBody>
                    <a:bodyPr/>
                    <a:lstStyle/>
                    <a:p>
                      <a:r>
                        <a:rPr lang="da-DK" sz="1600">
                          <a:solidFill>
                            <a:schemeClr val="accent2"/>
                          </a:solidFill>
                          <a:latin typeface="DFDS Sans Offc" panose="00000500000000000000" pitchFamily="2" charset="0"/>
                        </a:rPr>
                        <a:t>Gothenburg logistics</a:t>
                      </a:r>
                    </a:p>
                  </a:txBody>
                  <a:tcPr>
                    <a:noFill/>
                  </a:tcPr>
                </a:tc>
                <a:tc>
                  <a:txBody>
                    <a:bodyPr/>
                    <a:lstStyle/>
                    <a:p>
                      <a:r>
                        <a:rPr lang="da-DK" sz="1600">
                          <a:solidFill>
                            <a:srgbClr val="5A2846"/>
                          </a:solidFill>
                          <a:latin typeface="DFDS Sans Offc" panose="00000500000000000000" pitchFamily="2" charset="0"/>
                        </a:rPr>
                        <a:t>Dutch full-load (FTL) flows </a:t>
                      </a:r>
                    </a:p>
                    <a:p>
                      <a:endParaRPr lang="da-DK" sz="1600">
                        <a:solidFill>
                          <a:srgbClr val="5A2846"/>
                        </a:solidFill>
                        <a:latin typeface="DFDS Sans Offc" panose="00000500000000000000" pitchFamily="2" charset="0"/>
                      </a:endParaRPr>
                    </a:p>
                  </a:txBody>
                  <a:tcPr>
                    <a:noFill/>
                  </a:tcPr>
                </a:tc>
                <a:tc>
                  <a:txBody>
                    <a:bodyPr/>
                    <a:lstStyle/>
                    <a:p>
                      <a:r>
                        <a:rPr lang="da-DK" sz="1600">
                          <a:solidFill>
                            <a:schemeClr val="accent2"/>
                          </a:solidFill>
                          <a:latin typeface="DFDS Sans Offc" panose="00000500000000000000" pitchFamily="2" charset="0"/>
                        </a:rPr>
                        <a:t>Baltic slowdown</a:t>
                      </a:r>
                    </a:p>
                  </a:txBody>
                  <a:tcPr>
                    <a:noFill/>
                  </a:tcPr>
                </a:tc>
                <a:extLst>
                  <a:ext uri="{0D108BD9-81ED-4DB2-BD59-A6C34878D82A}">
                    <a16:rowId xmlns:a16="http://schemas.microsoft.com/office/drawing/2014/main" val="3815412350"/>
                  </a:ext>
                </a:extLst>
              </a:tr>
              <a:tr h="1152088">
                <a:tc>
                  <a:txBody>
                    <a:bodyPr/>
                    <a:lstStyle/>
                    <a:p>
                      <a:r>
                        <a:rPr lang="da-DK" sz="1600">
                          <a:solidFill>
                            <a:srgbClr val="5A2846"/>
                          </a:solidFill>
                          <a:latin typeface="DFDS Sans Offc" panose="00000500000000000000" pitchFamily="2" charset="0"/>
                        </a:rPr>
                        <a:t>Germany domestic</a:t>
                      </a:r>
                    </a:p>
                  </a:txBody>
                  <a:tcPr>
                    <a:noFill/>
                  </a:tcPr>
                </a:tc>
                <a:tc>
                  <a:txBody>
                    <a:bodyPr/>
                    <a:lstStyle/>
                    <a:p>
                      <a:r>
                        <a:rPr lang="da-DK" sz="1600">
                          <a:solidFill>
                            <a:srgbClr val="5A2846"/>
                          </a:solidFill>
                          <a:latin typeface="DFDS Sans Offc" panose="00000500000000000000" pitchFamily="2" charset="0"/>
                        </a:rPr>
                        <a:t>Ghent, flows and domestic</a:t>
                      </a:r>
                    </a:p>
                  </a:txBody>
                  <a:tcPr>
                    <a:noFill/>
                  </a:tcPr>
                </a:tc>
                <a:tc>
                  <a:txBody>
                    <a:bodyPr/>
                    <a:lstStyle/>
                    <a:p>
                      <a:r>
                        <a:rPr lang="da-DK" sz="1600">
                          <a:solidFill>
                            <a:srgbClr val="5A2846"/>
                          </a:solidFill>
                          <a:latin typeface="DFDS Sans Offc" panose="00000500000000000000" pitchFamily="2" charset="0"/>
                        </a:rPr>
                        <a:t>Dutch warehousing</a:t>
                      </a:r>
                    </a:p>
                  </a:txBody>
                  <a:tcPr>
                    <a:noFill/>
                  </a:tcPr>
                </a:tc>
                <a:tc>
                  <a:txBody>
                    <a:bodyPr/>
                    <a:lstStyle/>
                    <a:p>
                      <a:r>
                        <a:rPr lang="da-DK" sz="1600">
                          <a:solidFill>
                            <a:srgbClr val="5A2846"/>
                          </a:solidFill>
                          <a:latin typeface="DFDS Sans Offc" panose="00000500000000000000" pitchFamily="2" charset="0"/>
                        </a:rPr>
                        <a:t>Continent-UK, Brexit phase 3</a:t>
                      </a:r>
                    </a:p>
                  </a:txBody>
                  <a:tcPr>
                    <a:noFill/>
                  </a:tcPr>
                </a:tc>
                <a:extLst>
                  <a:ext uri="{0D108BD9-81ED-4DB2-BD59-A6C34878D82A}">
                    <a16:rowId xmlns:a16="http://schemas.microsoft.com/office/drawing/2014/main" val="1612888341"/>
                  </a:ext>
                </a:extLst>
              </a:tr>
            </a:tbl>
          </a:graphicData>
        </a:graphic>
      </p:graphicFrame>
      <p:sp>
        <p:nvSpPr>
          <p:cNvPr id="10" name="TextBox 9">
            <a:extLst>
              <a:ext uri="{FF2B5EF4-FFF2-40B4-BE49-F238E27FC236}">
                <a16:creationId xmlns:a16="http://schemas.microsoft.com/office/drawing/2014/main" id="{6992AB44-E671-4B42-3953-14E668004B03}"/>
              </a:ext>
            </a:extLst>
          </p:cNvPr>
          <p:cNvSpPr txBox="1"/>
          <p:nvPr/>
        </p:nvSpPr>
        <p:spPr>
          <a:xfrm>
            <a:off x="5744494" y="5728232"/>
            <a:ext cx="1176604" cy="169277"/>
          </a:xfrm>
          <a:prstGeom prst="rect">
            <a:avLst/>
          </a:prstGeom>
          <a:noFill/>
        </p:spPr>
        <p:txBody>
          <a:bodyPr wrap="none" lIns="0" tIns="0" rIns="0" bIns="0" rtlCol="0">
            <a:spAutoFit/>
          </a:bodyPr>
          <a:lstStyle/>
          <a:p>
            <a:pPr algn="l"/>
            <a:r>
              <a:rPr lang="da-DK" sz="1100">
                <a:solidFill>
                  <a:schemeClr val="accent2"/>
                </a:solidFill>
              </a:rPr>
              <a:t>Nordic</a:t>
            </a:r>
            <a:r>
              <a:rPr lang="da-DK" sz="1100"/>
              <a:t>/</a:t>
            </a:r>
            <a:r>
              <a:rPr lang="da-DK" sz="1100">
                <a:solidFill>
                  <a:srgbClr val="5A2846"/>
                </a:solidFill>
              </a:rPr>
              <a:t>Continent</a:t>
            </a:r>
            <a:endParaRPr lang="da-DK" sz="1100" dirty="0" err="1">
              <a:solidFill>
                <a:srgbClr val="5A2846"/>
              </a:solidFill>
            </a:endParaRPr>
          </a:p>
        </p:txBody>
      </p:sp>
    </p:spTree>
    <p:extLst>
      <p:ext uri="{BB962C8B-B14F-4D97-AF65-F5344CB8AC3E}">
        <p14:creationId xmlns:p14="http://schemas.microsoft.com/office/powerpoint/2010/main" val="43312570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8CB981-7086-4DD5-ED05-20C96AABD1C1}"/>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584FF48-A3F1-4AB2-EEAB-768A4120046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8" imgH="278" progId="TCLayout.ActiveDocument.1">
                  <p:embed/>
                </p:oleObj>
              </mc:Choice>
              <mc:Fallback>
                <p:oleObj name="think-cell Slide" r:id="rId4" imgW="278" imgH="278" progId="TCLayout.ActiveDocument.1">
                  <p:embed/>
                  <p:pic>
                    <p:nvPicPr>
                      <p:cNvPr id="5" name="Object 4" hidden="1">
                        <a:extLst>
                          <a:ext uri="{FF2B5EF4-FFF2-40B4-BE49-F238E27FC236}">
                            <a16:creationId xmlns:a16="http://schemas.microsoft.com/office/drawing/2014/main" id="{1C8EB46E-754D-4239-8498-640983F9545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FC2DC249-C253-574E-C53A-665935E053F2}"/>
              </a:ext>
            </a:extLst>
          </p:cNvPr>
          <p:cNvSpPr/>
          <p:nvPr>
            <p:custDataLst>
              <p:tags r:id="rId2"/>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da-DK" sz="2400">
              <a:solidFill>
                <a:schemeClr val="bg1"/>
              </a:solidFill>
              <a:latin typeface="DFDS Bold" panose="00000800000000000000" pitchFamily="2" charset="0"/>
              <a:ea typeface="+mj-ea"/>
              <a:cs typeface="+mj-cs"/>
              <a:sym typeface="DFDS Bold" panose="00000800000000000000" pitchFamily="2" charset="0"/>
            </a:endParaRPr>
          </a:p>
        </p:txBody>
      </p:sp>
      <p:sp>
        <p:nvSpPr>
          <p:cNvPr id="3" name="Slide Number Placeholder 2">
            <a:extLst>
              <a:ext uri="{FF2B5EF4-FFF2-40B4-BE49-F238E27FC236}">
                <a16:creationId xmlns:a16="http://schemas.microsoft.com/office/drawing/2014/main" id="{6F316431-AD71-67FD-33E7-B1EE66C1609D}"/>
              </a:ext>
            </a:extLst>
          </p:cNvPr>
          <p:cNvSpPr>
            <a:spLocks noGrp="1"/>
          </p:cNvSpPr>
          <p:nvPr>
            <p:ph type="sldNum" sz="quarter" idx="17"/>
          </p:nvPr>
        </p:nvSpPr>
        <p:spPr/>
        <p:txBody>
          <a:bodyPr/>
          <a:lstStyle/>
          <a:p>
            <a:fld id="{23AA811B-2EBD-4900-905E-5BE206449611}" type="slidenum">
              <a:rPr lang="en-GB" smtClean="0"/>
              <a:pPr/>
              <a:t>22</a:t>
            </a:fld>
            <a:endParaRPr lang="en-GB"/>
          </a:p>
        </p:txBody>
      </p:sp>
      <p:sp>
        <p:nvSpPr>
          <p:cNvPr id="39" name="Rectangle 4">
            <a:extLst>
              <a:ext uri="{FF2B5EF4-FFF2-40B4-BE49-F238E27FC236}">
                <a16:creationId xmlns:a16="http://schemas.microsoft.com/office/drawing/2014/main" id="{18739CA9-9B3B-52B9-0506-8AB359B91AB6}"/>
              </a:ext>
            </a:extLst>
          </p:cNvPr>
          <p:cNvSpPr>
            <a:spLocks noGrp="1" noChangeArrowheads="1"/>
          </p:cNvSpPr>
          <p:nvPr>
            <p:ph type="ctrTitle"/>
          </p:nvPr>
        </p:nvSpPr>
        <p:spPr>
          <a:xfrm>
            <a:off x="269876" y="560344"/>
            <a:ext cx="5216524" cy="1416050"/>
          </a:xfrm>
        </p:spPr>
        <p:txBody>
          <a:bodyPr vert="horz" wrap="square" lIns="0" tIns="0" rIns="0" bIns="0" rtlCol="0" anchor="t">
            <a:noAutofit/>
          </a:bodyPr>
          <a:lstStyle/>
          <a:p>
            <a:r>
              <a:rPr lang="da-DK"/>
              <a:t>Outlook &amp; priorities</a:t>
            </a:r>
            <a:endParaRPr lang="en-US"/>
          </a:p>
        </p:txBody>
      </p:sp>
      <p:sp>
        <p:nvSpPr>
          <p:cNvPr id="41" name="TextBox 8">
            <a:extLst>
              <a:ext uri="{FF2B5EF4-FFF2-40B4-BE49-F238E27FC236}">
                <a16:creationId xmlns:a16="http://schemas.microsoft.com/office/drawing/2014/main" id="{C86AA360-0CE0-7A24-A496-3F0765544709}"/>
              </a:ext>
            </a:extLst>
          </p:cNvPr>
          <p:cNvSpPr txBox="1">
            <a:spLocks noChangeArrowheads="1"/>
          </p:cNvSpPr>
          <p:nvPr/>
        </p:nvSpPr>
        <p:spPr bwMode="auto">
          <a:xfrm>
            <a:off x="11501438" y="1285875"/>
            <a:ext cx="1847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atin typeface="DFDS Light" panose="02000300000000020000" pitchFamily="2" charset="0"/>
            </a:endParaRPr>
          </a:p>
        </p:txBody>
      </p:sp>
      <p:sp>
        <p:nvSpPr>
          <p:cNvPr id="7" name="Subtitle 6">
            <a:extLst>
              <a:ext uri="{FF2B5EF4-FFF2-40B4-BE49-F238E27FC236}">
                <a16:creationId xmlns:a16="http://schemas.microsoft.com/office/drawing/2014/main" id="{497E7383-5610-48E0-B84D-70CD53EDFE62}"/>
              </a:ext>
            </a:extLst>
          </p:cNvPr>
          <p:cNvSpPr>
            <a:spLocks noGrp="1"/>
          </p:cNvSpPr>
          <p:nvPr>
            <p:ph type="subTitle" idx="1"/>
          </p:nvPr>
        </p:nvSpPr>
        <p:spPr/>
        <p:txBody>
          <a:bodyPr/>
          <a:lstStyle/>
          <a:p>
            <a:endParaRPr lang="da-DK"/>
          </a:p>
        </p:txBody>
      </p:sp>
      <p:sp>
        <p:nvSpPr>
          <p:cNvPr id="2" name="Slide Number Placeholder 1">
            <a:extLst>
              <a:ext uri="{FF2B5EF4-FFF2-40B4-BE49-F238E27FC236}">
                <a16:creationId xmlns:a16="http://schemas.microsoft.com/office/drawing/2014/main" id="{5C060F88-E462-A02C-6379-F15E204213B1}"/>
              </a:ext>
            </a:extLst>
          </p:cNvPr>
          <p:cNvSpPr txBox="1">
            <a:spLocks/>
          </p:cNvSpPr>
          <p:nvPr/>
        </p:nvSpPr>
        <p:spPr>
          <a:xfrm>
            <a:off x="234975" y="6431279"/>
            <a:ext cx="323438" cy="1800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6BB336-FA68-49FA-BBEA-E8420972406D}" type="slidenum">
              <a:rPr lang="en-GB" sz="800" smtClean="0">
                <a:solidFill>
                  <a:schemeClr val="bg1"/>
                </a:solidFill>
              </a:rPr>
              <a:pPr/>
              <a:t>22</a:t>
            </a:fld>
            <a:endParaRPr lang="en-GB" sz="800">
              <a:solidFill>
                <a:schemeClr val="bg1"/>
              </a:solidFill>
            </a:endParaRPr>
          </a:p>
        </p:txBody>
      </p:sp>
    </p:spTree>
    <p:extLst>
      <p:ext uri="{BB962C8B-B14F-4D97-AF65-F5344CB8AC3E}">
        <p14:creationId xmlns:p14="http://schemas.microsoft.com/office/powerpoint/2010/main" val="310406420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224E5E-D03B-DC83-6D59-7EBBCAC95820}"/>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30BF73A-F5FC-F72B-B159-26A37BA9714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8" imgH="278" progId="TCLayout.ActiveDocument.1">
                  <p:embed/>
                </p:oleObj>
              </mc:Choice>
              <mc:Fallback>
                <p:oleObj name="think-cell Slide" r:id="rId5" imgW="278" imgH="278" progId="TCLayout.ActiveDocument.1">
                  <p:embed/>
                  <p:pic>
                    <p:nvPicPr>
                      <p:cNvPr id="5" name="Object 4" hidden="1">
                        <a:extLst>
                          <a:ext uri="{FF2B5EF4-FFF2-40B4-BE49-F238E27FC236}">
                            <a16:creationId xmlns:a16="http://schemas.microsoft.com/office/drawing/2014/main" id="{1C8EB46E-754D-4239-8498-640983F9545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55271E4-51E9-77A1-0681-FF38430A38F9}"/>
              </a:ext>
            </a:extLst>
          </p:cNvPr>
          <p:cNvSpPr/>
          <p:nvPr>
            <p:custDataLst>
              <p:tags r:id="rId2"/>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da-DK" sz="2400" dirty="0">
              <a:solidFill>
                <a:schemeClr val="bg1"/>
              </a:solidFill>
              <a:latin typeface="DFDS Bold" panose="00000800000000000000" pitchFamily="2" charset="0"/>
              <a:ea typeface="+mj-ea"/>
              <a:cs typeface="+mj-cs"/>
              <a:sym typeface="DFDS Bold" panose="00000800000000000000" pitchFamily="2" charset="0"/>
            </a:endParaRPr>
          </a:p>
        </p:txBody>
      </p:sp>
      <p:sp>
        <p:nvSpPr>
          <p:cNvPr id="16" name="Rectangle 4">
            <a:extLst>
              <a:ext uri="{FF2B5EF4-FFF2-40B4-BE49-F238E27FC236}">
                <a16:creationId xmlns:a16="http://schemas.microsoft.com/office/drawing/2014/main" id="{B2D5C620-2A3B-1C71-DB8F-B51601A15BA8}"/>
              </a:ext>
            </a:extLst>
          </p:cNvPr>
          <p:cNvSpPr txBox="1">
            <a:spLocks noChangeArrowheads="1"/>
          </p:cNvSpPr>
          <p:nvPr/>
        </p:nvSpPr>
        <p:spPr>
          <a:xfrm>
            <a:off x="277826" y="277826"/>
            <a:ext cx="5727687" cy="785812"/>
          </a:xfrm>
          <a:prstGeom prst="rect">
            <a:avLst/>
          </a:prstGeom>
        </p:spPr>
        <p:txBody>
          <a:bodyPr vert="horz" wrap="square" lIns="0" tIns="0" rIns="0" bIns="0" rtlCol="0" anchor="t">
            <a:noAutofit/>
          </a:bodyPr>
          <a:lstStyle>
            <a:defPPr>
              <a:defRPr lang="en-US"/>
            </a:defPPr>
            <a:lvl1pPr>
              <a:lnSpc>
                <a:spcPct val="90000"/>
              </a:lnSpc>
              <a:spcBef>
                <a:spcPct val="0"/>
              </a:spcBef>
              <a:buNone/>
              <a:defRPr sz="3200" cap="none" baseline="0">
                <a:solidFill>
                  <a:schemeClr val="accent1"/>
                </a:solidFill>
                <a:latin typeface="+mj-lt"/>
                <a:ea typeface="+mj-ea"/>
                <a:cs typeface="+mj-cs"/>
              </a:defRPr>
            </a:lvl1pPr>
          </a:lstStyle>
          <a:p>
            <a:r>
              <a:rPr lang="da-DK" sz="2800" dirty="0"/>
              <a:t>Outlook 2025 </a:t>
            </a:r>
            <a:r>
              <a:rPr lang="da-DK" sz="2800"/>
              <a:t>– modest </a:t>
            </a:r>
            <a:r>
              <a:rPr lang="da-DK" sz="2800" dirty="0"/>
              <a:t>tailwind assumed </a:t>
            </a:r>
            <a:endParaRPr lang="en-US" sz="2800" dirty="0"/>
          </a:p>
        </p:txBody>
      </p:sp>
      <p:sp>
        <p:nvSpPr>
          <p:cNvPr id="18" name="TextBox 8">
            <a:extLst>
              <a:ext uri="{FF2B5EF4-FFF2-40B4-BE49-F238E27FC236}">
                <a16:creationId xmlns:a16="http://schemas.microsoft.com/office/drawing/2014/main" id="{4F667DAB-ADF7-1C7F-14E5-31D374D5F894}"/>
              </a:ext>
            </a:extLst>
          </p:cNvPr>
          <p:cNvSpPr txBox="1">
            <a:spLocks noChangeArrowheads="1"/>
          </p:cNvSpPr>
          <p:nvPr/>
        </p:nvSpPr>
        <p:spPr bwMode="auto">
          <a:xfrm>
            <a:off x="11501438" y="1285875"/>
            <a:ext cx="1847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atin typeface="DFDS Light" panose="02000300000000020000" pitchFamily="2" charset="0"/>
            </a:endParaRPr>
          </a:p>
        </p:txBody>
      </p:sp>
      <p:sp>
        <p:nvSpPr>
          <p:cNvPr id="19" name="Content Placeholder 7">
            <a:extLst>
              <a:ext uri="{FF2B5EF4-FFF2-40B4-BE49-F238E27FC236}">
                <a16:creationId xmlns:a16="http://schemas.microsoft.com/office/drawing/2014/main" id="{1D4EF10A-3178-17C3-8A63-BF6F643B3499}"/>
              </a:ext>
            </a:extLst>
          </p:cNvPr>
          <p:cNvSpPr txBox="1">
            <a:spLocks/>
          </p:cNvSpPr>
          <p:nvPr/>
        </p:nvSpPr>
        <p:spPr bwMode="auto">
          <a:xfrm>
            <a:off x="274227" y="2001974"/>
            <a:ext cx="4425661" cy="3924300"/>
          </a:xfrm>
          <a:prstGeom prst="rect">
            <a:avLst/>
          </a:prstGeom>
          <a:noFill/>
          <a:ln w="9525">
            <a:noFill/>
            <a:miter lim="800000"/>
            <a:headEnd/>
            <a:tailEnd/>
          </a:ln>
        </p:spPr>
        <p:txBody>
          <a:bodyPr lIns="0" tIns="0" rIns="0" bIns="0"/>
          <a:lstStyle/>
          <a:p>
            <a:pPr marL="180969" indent="-180969">
              <a:buFont typeface="Arial" pitchFamily="34" charset="0"/>
              <a:buChar char="•"/>
              <a:defRPr/>
            </a:pPr>
            <a:r>
              <a:rPr lang="da-DK" b="1" dirty="0"/>
              <a:t>European</a:t>
            </a:r>
            <a:r>
              <a:rPr lang="da-DK" dirty="0"/>
              <a:t> growth assumed to remain muted in 2025 due to continued macro uncertainty</a:t>
            </a:r>
          </a:p>
          <a:p>
            <a:pPr marL="180969" indent="-180969">
              <a:buFont typeface="Arial" pitchFamily="34" charset="0"/>
              <a:buChar char="•"/>
              <a:defRPr/>
            </a:pPr>
            <a:endParaRPr lang="da-DK" dirty="0"/>
          </a:p>
          <a:p>
            <a:pPr marL="180969" indent="-180969">
              <a:buFont typeface="Arial" pitchFamily="34" charset="0"/>
              <a:buChar char="•"/>
              <a:defRPr/>
            </a:pPr>
            <a:r>
              <a:rPr lang="da-DK" dirty="0"/>
              <a:t>Continued growth in </a:t>
            </a:r>
            <a:r>
              <a:rPr lang="da-DK" b="1" dirty="0"/>
              <a:t>Mediterranean</a:t>
            </a:r>
            <a:r>
              <a:rPr lang="da-DK" dirty="0"/>
              <a:t> and </a:t>
            </a:r>
            <a:r>
              <a:rPr lang="da-DK" b="1" dirty="0"/>
              <a:t>North Africa. </a:t>
            </a:r>
            <a:r>
              <a:rPr lang="da-DK"/>
              <a:t>DFDS freight ferry Mediterranean </a:t>
            </a:r>
            <a:r>
              <a:rPr lang="da-DK" dirty="0"/>
              <a:t>volumes impacted </a:t>
            </a:r>
            <a:r>
              <a:rPr lang="da-DK"/>
              <a:t>by competition</a:t>
            </a:r>
            <a:endParaRPr lang="da-DK" dirty="0"/>
          </a:p>
          <a:p>
            <a:pPr marL="180969" indent="-180969">
              <a:buFont typeface="Arial" pitchFamily="34" charset="0"/>
              <a:buChar char="•"/>
              <a:defRPr/>
            </a:pPr>
            <a:endParaRPr lang="da-DK" dirty="0"/>
          </a:p>
          <a:p>
            <a:pPr marL="180969" indent="-180969">
              <a:buFont typeface="Arial" pitchFamily="34" charset="0"/>
              <a:buChar char="•"/>
              <a:defRPr/>
            </a:pPr>
            <a:r>
              <a:rPr lang="da-DK" b="1" dirty="0"/>
              <a:t>Road transport</a:t>
            </a:r>
            <a:r>
              <a:rPr lang="da-DK" dirty="0"/>
              <a:t> markets assumed to remain highly competitive</a:t>
            </a:r>
          </a:p>
          <a:p>
            <a:pPr marL="180969" indent="-180969">
              <a:buFont typeface="Arial" pitchFamily="34" charset="0"/>
              <a:buChar char="•"/>
              <a:defRPr/>
            </a:pPr>
            <a:endParaRPr lang="da-DK" dirty="0"/>
          </a:p>
          <a:p>
            <a:pPr marL="180969" indent="-180969">
              <a:buFont typeface="Arial" pitchFamily="34" charset="0"/>
              <a:buChar char="•"/>
              <a:defRPr/>
            </a:pPr>
            <a:r>
              <a:rPr lang="da-DK" b="1"/>
              <a:t>Passenger</a:t>
            </a:r>
            <a:r>
              <a:rPr lang="da-DK"/>
              <a:t> markets </a:t>
            </a:r>
            <a:r>
              <a:rPr lang="da-DK" dirty="0"/>
              <a:t>overall stable – Channel expected to grow</a:t>
            </a:r>
          </a:p>
        </p:txBody>
      </p:sp>
      <p:sp>
        <p:nvSpPr>
          <p:cNvPr id="2" name="Slide Number Placeholder 1">
            <a:extLst>
              <a:ext uri="{FF2B5EF4-FFF2-40B4-BE49-F238E27FC236}">
                <a16:creationId xmlns:a16="http://schemas.microsoft.com/office/drawing/2014/main" id="{7BAA83EC-9136-E2E1-B4F3-B84E56DA78E8}"/>
              </a:ext>
            </a:extLst>
          </p:cNvPr>
          <p:cNvSpPr txBox="1">
            <a:spLocks/>
          </p:cNvSpPr>
          <p:nvPr/>
        </p:nvSpPr>
        <p:spPr>
          <a:xfrm>
            <a:off x="234975" y="6431279"/>
            <a:ext cx="323438" cy="1800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6BB336-FA68-49FA-BBEA-E8420972406D}" type="slidenum">
              <a:rPr lang="en-GB" sz="800" smtClean="0"/>
              <a:pPr/>
              <a:t>23</a:t>
            </a:fld>
            <a:endParaRPr lang="en-GB" sz="800"/>
          </a:p>
        </p:txBody>
      </p:sp>
      <p:pic>
        <p:nvPicPr>
          <p:cNvPr id="12" name="Picture Placeholder 11">
            <a:extLst>
              <a:ext uri="{FF2B5EF4-FFF2-40B4-BE49-F238E27FC236}">
                <a16:creationId xmlns:a16="http://schemas.microsoft.com/office/drawing/2014/main" id="{2242E349-E57C-865C-4A5B-92FC882518C0}"/>
              </a:ext>
            </a:extLst>
          </p:cNvPr>
          <p:cNvPicPr>
            <a:picLocks noGrp="1" noChangeAspect="1"/>
          </p:cNvPicPr>
          <p:nvPr>
            <p:ph type="pic" sz="quarter" idx="18"/>
          </p:nvPr>
        </p:nvPicPr>
        <p:blipFill>
          <a:blip r:embed="rId7">
            <a:extLst>
              <a:ext uri="{28A0092B-C50C-407E-A947-70E740481C1C}">
                <a14:useLocalDpi xmlns:a14="http://schemas.microsoft.com/office/drawing/2010/main" val="0"/>
              </a:ext>
            </a:extLst>
          </a:blip>
          <a:srcRect l="27796" r="33420" b="34645"/>
          <a:stretch/>
        </p:blipFill>
        <p:spPr>
          <a:xfrm>
            <a:off x="6100545" y="0"/>
            <a:ext cx="6100008" cy="6858000"/>
          </a:xfrm>
        </p:spPr>
      </p:pic>
    </p:spTree>
    <p:extLst>
      <p:ext uri="{BB962C8B-B14F-4D97-AF65-F5344CB8AC3E}">
        <p14:creationId xmlns:p14="http://schemas.microsoft.com/office/powerpoint/2010/main" val="159537990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C8EB46E-754D-4239-8498-640983F9545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8" imgH="278" progId="TCLayout.ActiveDocument.1">
                  <p:embed/>
                </p:oleObj>
              </mc:Choice>
              <mc:Fallback>
                <p:oleObj name="think-cell Slide" r:id="rId4" imgW="278" imgH="278" progId="TCLayout.ActiveDocument.1">
                  <p:embed/>
                  <p:pic>
                    <p:nvPicPr>
                      <p:cNvPr id="5" name="Object 4" hidden="1">
                        <a:extLst>
                          <a:ext uri="{FF2B5EF4-FFF2-40B4-BE49-F238E27FC236}">
                            <a16:creationId xmlns:a16="http://schemas.microsoft.com/office/drawing/2014/main" id="{1C8EB46E-754D-4239-8498-640983F9545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0D5AF93A-54B4-41D8-B519-B05CA4715B2E}"/>
              </a:ext>
            </a:extLst>
          </p:cNvPr>
          <p:cNvSpPr/>
          <p:nvPr>
            <p:custDataLst>
              <p:tags r:id="rId2"/>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da-DK" sz="2400" dirty="0">
              <a:solidFill>
                <a:schemeClr val="bg1"/>
              </a:solidFill>
              <a:latin typeface="DFDS Bold" panose="00000800000000000000" pitchFamily="2" charset="0"/>
              <a:ea typeface="+mj-ea"/>
              <a:cs typeface="+mj-cs"/>
              <a:sym typeface="DFDS Bold" panose="00000800000000000000" pitchFamily="2" charset="0"/>
            </a:endParaRPr>
          </a:p>
        </p:txBody>
      </p:sp>
      <p:sp>
        <p:nvSpPr>
          <p:cNvPr id="16" name="Rectangle 4">
            <a:extLst>
              <a:ext uri="{FF2B5EF4-FFF2-40B4-BE49-F238E27FC236}">
                <a16:creationId xmlns:a16="http://schemas.microsoft.com/office/drawing/2014/main" id="{419A411F-C5C9-4DAB-8F65-25F8581CF769}"/>
              </a:ext>
            </a:extLst>
          </p:cNvPr>
          <p:cNvSpPr txBox="1">
            <a:spLocks noChangeArrowheads="1"/>
          </p:cNvSpPr>
          <p:nvPr/>
        </p:nvSpPr>
        <p:spPr>
          <a:xfrm>
            <a:off x="277826" y="277826"/>
            <a:ext cx="11542699" cy="785812"/>
          </a:xfrm>
          <a:prstGeom prst="rect">
            <a:avLst/>
          </a:prstGeom>
        </p:spPr>
        <p:txBody>
          <a:bodyPr vert="horz" wrap="square" lIns="0" tIns="0" rIns="0" bIns="0" rtlCol="0" anchor="t">
            <a:noAutofit/>
          </a:bodyPr>
          <a:lstStyle>
            <a:defPPr>
              <a:defRPr lang="en-US"/>
            </a:defPPr>
            <a:lvl1pPr>
              <a:lnSpc>
                <a:spcPct val="90000"/>
              </a:lnSpc>
              <a:spcBef>
                <a:spcPct val="0"/>
              </a:spcBef>
              <a:buNone/>
              <a:defRPr sz="3200" cap="none" baseline="0">
                <a:solidFill>
                  <a:schemeClr val="accent1"/>
                </a:solidFill>
                <a:latin typeface="+mj-lt"/>
                <a:ea typeface="+mj-ea"/>
                <a:cs typeface="+mj-cs"/>
              </a:defRPr>
            </a:lvl1pPr>
          </a:lstStyle>
          <a:p>
            <a:r>
              <a:rPr lang="da-DK"/>
              <a:t>EBIT outlook impacted by focus areas</a:t>
            </a:r>
            <a:endParaRPr lang="en-US" dirty="0"/>
          </a:p>
        </p:txBody>
      </p:sp>
      <p:sp>
        <p:nvSpPr>
          <p:cNvPr id="18" name="TextBox 8">
            <a:extLst>
              <a:ext uri="{FF2B5EF4-FFF2-40B4-BE49-F238E27FC236}">
                <a16:creationId xmlns:a16="http://schemas.microsoft.com/office/drawing/2014/main" id="{407302E7-C726-4CF2-8479-E5FA89195FF9}"/>
              </a:ext>
            </a:extLst>
          </p:cNvPr>
          <p:cNvSpPr txBox="1">
            <a:spLocks noChangeArrowheads="1"/>
          </p:cNvSpPr>
          <p:nvPr/>
        </p:nvSpPr>
        <p:spPr bwMode="auto">
          <a:xfrm>
            <a:off x="11501438" y="1285875"/>
            <a:ext cx="1847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atin typeface="DFDS Light" panose="02000300000000020000" pitchFamily="2" charset="0"/>
            </a:endParaRPr>
          </a:p>
        </p:txBody>
      </p:sp>
      <p:sp>
        <p:nvSpPr>
          <p:cNvPr id="19" name="Content Placeholder 7">
            <a:extLst>
              <a:ext uri="{FF2B5EF4-FFF2-40B4-BE49-F238E27FC236}">
                <a16:creationId xmlns:a16="http://schemas.microsoft.com/office/drawing/2014/main" id="{AC7ED01D-B8C5-4B81-ABC4-805C6345B13F}"/>
              </a:ext>
            </a:extLst>
          </p:cNvPr>
          <p:cNvSpPr txBox="1">
            <a:spLocks/>
          </p:cNvSpPr>
          <p:nvPr/>
        </p:nvSpPr>
        <p:spPr bwMode="auto">
          <a:xfrm>
            <a:off x="277826" y="1460218"/>
            <a:ext cx="4361081" cy="3924300"/>
          </a:xfrm>
          <a:prstGeom prst="rect">
            <a:avLst/>
          </a:prstGeom>
          <a:noFill/>
          <a:ln w="9525">
            <a:noFill/>
            <a:miter lim="800000"/>
            <a:headEnd/>
            <a:tailEnd/>
          </a:ln>
        </p:spPr>
        <p:txBody>
          <a:bodyPr lIns="0" tIns="0" rIns="0" bIns="0"/>
          <a:lstStyle/>
          <a:p>
            <a:pPr marL="180969" indent="-180969">
              <a:buFont typeface="Arial" pitchFamily="34" charset="0"/>
              <a:buChar char="•"/>
              <a:defRPr/>
            </a:pPr>
            <a:r>
              <a:rPr lang="da-DK" b="1" dirty="0" err="1"/>
              <a:t>Revenue</a:t>
            </a:r>
            <a:r>
              <a:rPr lang="da-DK" dirty="0"/>
              <a:t> </a:t>
            </a:r>
            <a:r>
              <a:rPr lang="da-DK" dirty="0" err="1"/>
              <a:t>growth</a:t>
            </a:r>
            <a:r>
              <a:rPr lang="da-DK" dirty="0"/>
              <a:t> </a:t>
            </a:r>
            <a:r>
              <a:rPr lang="da-DK" dirty="0" err="1"/>
              <a:t>outlook</a:t>
            </a:r>
            <a:r>
              <a:rPr lang="da-DK" dirty="0"/>
              <a:t> of </a:t>
            </a:r>
            <a:r>
              <a:rPr lang="da-DK" dirty="0" err="1"/>
              <a:t>around</a:t>
            </a:r>
            <a:r>
              <a:rPr lang="da-DK" dirty="0"/>
              <a:t> 5% driven by </a:t>
            </a:r>
            <a:r>
              <a:rPr lang="da-DK" dirty="0" err="1"/>
              <a:t>organic</a:t>
            </a:r>
            <a:r>
              <a:rPr lang="da-DK" dirty="0"/>
              <a:t> </a:t>
            </a:r>
            <a:r>
              <a:rPr lang="da-DK" dirty="0" err="1"/>
              <a:t>growth</a:t>
            </a:r>
            <a:r>
              <a:rPr lang="da-DK" dirty="0"/>
              <a:t> and net positive </a:t>
            </a:r>
            <a:r>
              <a:rPr lang="da-DK" dirty="0" err="1"/>
              <a:t>impact</a:t>
            </a:r>
            <a:r>
              <a:rPr lang="da-DK" dirty="0"/>
              <a:t> from </a:t>
            </a:r>
            <a:r>
              <a:rPr lang="da-DK" dirty="0" err="1"/>
              <a:t>acquisitions</a:t>
            </a:r>
            <a:r>
              <a:rPr lang="da-DK" dirty="0"/>
              <a:t>/</a:t>
            </a:r>
            <a:r>
              <a:rPr lang="da-DK" dirty="0" err="1"/>
              <a:t>divestments</a:t>
            </a:r>
            <a:endParaRPr lang="da-DK" dirty="0"/>
          </a:p>
          <a:p>
            <a:pPr marL="180969" indent="-180969">
              <a:buFont typeface="Arial" pitchFamily="34" charset="0"/>
              <a:buChar char="•"/>
              <a:defRPr/>
            </a:pPr>
            <a:endParaRPr lang="da-DK" dirty="0"/>
          </a:p>
          <a:p>
            <a:pPr marL="180969" indent="-180969">
              <a:buFont typeface="Arial" pitchFamily="34" charset="0"/>
              <a:buChar char="•"/>
              <a:defRPr/>
            </a:pPr>
            <a:r>
              <a:rPr lang="da-DK" b="1" dirty="0"/>
              <a:t>EBIT</a:t>
            </a:r>
            <a:r>
              <a:rPr lang="da-DK" dirty="0"/>
              <a:t> outlook of around DKK </a:t>
            </a:r>
            <a:r>
              <a:rPr lang="da-DK"/>
              <a:t>1.0bn reflect </a:t>
            </a:r>
            <a:r>
              <a:rPr lang="da-DK" dirty="0"/>
              <a:t>impacts from Mediterranean </a:t>
            </a:r>
            <a:r>
              <a:rPr lang="da-DK"/>
              <a:t>and Türkiye &amp; Europe South </a:t>
            </a:r>
            <a:r>
              <a:rPr lang="da-DK" dirty="0"/>
              <a:t>turnaround </a:t>
            </a:r>
          </a:p>
          <a:p>
            <a:pPr marL="180969" indent="-180969">
              <a:buFont typeface="Arial" pitchFamily="34" charset="0"/>
              <a:buChar char="•"/>
              <a:defRPr/>
            </a:pPr>
            <a:endParaRPr lang="da-DK" dirty="0"/>
          </a:p>
          <a:p>
            <a:pPr marL="180969" indent="-180969">
              <a:buFont typeface="Arial" pitchFamily="34" charset="0"/>
              <a:buChar char="•"/>
              <a:defRPr/>
            </a:pPr>
            <a:r>
              <a:rPr lang="da-DK" b="1" dirty="0"/>
              <a:t>Operating </a:t>
            </a:r>
            <a:r>
              <a:rPr lang="da-DK" b="1" dirty="0" err="1"/>
              <a:t>capex</a:t>
            </a:r>
            <a:r>
              <a:rPr lang="da-DK" dirty="0"/>
              <a:t> </a:t>
            </a:r>
            <a:r>
              <a:rPr lang="da-DK" dirty="0">
                <a:highlight>
                  <a:srgbClr val="FFFFFF"/>
                </a:highlight>
              </a:rPr>
              <a:t>of </a:t>
            </a:r>
            <a:r>
              <a:rPr lang="da-DK" dirty="0" err="1">
                <a:highlight>
                  <a:srgbClr val="FFFFFF"/>
                </a:highlight>
              </a:rPr>
              <a:t>around</a:t>
            </a:r>
            <a:r>
              <a:rPr lang="da-DK" dirty="0">
                <a:highlight>
                  <a:srgbClr val="FFFFFF"/>
                </a:highlight>
              </a:rPr>
              <a:t> DKK </a:t>
            </a:r>
            <a:r>
              <a:rPr lang="da-DK" dirty="0"/>
              <a:t>1.6bn</a:t>
            </a:r>
          </a:p>
          <a:p>
            <a:pPr marL="180969" indent="-180969">
              <a:buFont typeface="Arial" pitchFamily="34" charset="0"/>
              <a:buChar char="•"/>
              <a:defRPr/>
            </a:pPr>
            <a:endParaRPr lang="da-DK" dirty="0"/>
          </a:p>
          <a:p>
            <a:pPr marL="180969" indent="-180969">
              <a:buFont typeface="Arial" pitchFamily="34" charset="0"/>
              <a:buChar char="•"/>
              <a:defRPr/>
            </a:pPr>
            <a:r>
              <a:rPr lang="da-DK" b="1" dirty="0" err="1"/>
              <a:t>Adjusted</a:t>
            </a:r>
            <a:r>
              <a:rPr lang="da-DK" b="1" dirty="0"/>
              <a:t> </a:t>
            </a:r>
            <a:r>
              <a:rPr lang="da-DK" b="1" dirty="0" err="1"/>
              <a:t>free</a:t>
            </a:r>
            <a:r>
              <a:rPr lang="da-DK" b="1" dirty="0"/>
              <a:t> cash flow</a:t>
            </a:r>
            <a:r>
              <a:rPr lang="da-DK" dirty="0"/>
              <a:t> of </a:t>
            </a:r>
            <a:r>
              <a:rPr lang="da-DK" dirty="0" err="1"/>
              <a:t>around</a:t>
            </a:r>
            <a:r>
              <a:rPr lang="da-DK" dirty="0"/>
              <a:t> DKK 1.0bn </a:t>
            </a:r>
            <a:r>
              <a:rPr lang="en-GB" dirty="0"/>
              <a:t>includes positive impact from working capital improvement</a:t>
            </a:r>
            <a:endParaRPr lang="da-DK" dirty="0"/>
          </a:p>
        </p:txBody>
      </p:sp>
      <p:sp>
        <p:nvSpPr>
          <p:cNvPr id="2" name="Slide Number Placeholder 1">
            <a:extLst>
              <a:ext uri="{FF2B5EF4-FFF2-40B4-BE49-F238E27FC236}">
                <a16:creationId xmlns:a16="http://schemas.microsoft.com/office/drawing/2014/main" id="{D6FDBE2B-728C-F0EA-57CB-C1FBBF3F3598}"/>
              </a:ext>
            </a:extLst>
          </p:cNvPr>
          <p:cNvSpPr txBox="1">
            <a:spLocks/>
          </p:cNvSpPr>
          <p:nvPr/>
        </p:nvSpPr>
        <p:spPr>
          <a:xfrm>
            <a:off x="234975" y="6431279"/>
            <a:ext cx="323438" cy="1800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6BB336-FA68-49FA-BBEA-E8420972406D}" type="slidenum">
              <a:rPr lang="en-GB" sz="800" smtClean="0"/>
              <a:pPr/>
              <a:t>24</a:t>
            </a:fld>
            <a:endParaRPr lang="en-GB" sz="800"/>
          </a:p>
        </p:txBody>
      </p:sp>
      <p:pic>
        <p:nvPicPr>
          <p:cNvPr id="4" name="Picture 3">
            <a:extLst>
              <a:ext uri="{FF2B5EF4-FFF2-40B4-BE49-F238E27FC236}">
                <a16:creationId xmlns:a16="http://schemas.microsoft.com/office/drawing/2014/main" id="{2914D877-8E3A-24D9-CDB4-39A22243A9DB}"/>
              </a:ext>
            </a:extLst>
          </p:cNvPr>
          <p:cNvPicPr>
            <a:picLocks noChangeAspect="1"/>
          </p:cNvPicPr>
          <p:nvPr/>
        </p:nvPicPr>
        <p:blipFill>
          <a:blip r:embed="rId6"/>
          <a:stretch>
            <a:fillRect/>
          </a:stretch>
        </p:blipFill>
        <p:spPr>
          <a:xfrm>
            <a:off x="7308809" y="1285875"/>
            <a:ext cx="4614952" cy="4854575"/>
          </a:xfrm>
          <a:prstGeom prst="rect">
            <a:avLst/>
          </a:prstGeom>
        </p:spPr>
      </p:pic>
    </p:spTree>
    <p:extLst>
      <p:ext uri="{BB962C8B-B14F-4D97-AF65-F5344CB8AC3E}">
        <p14:creationId xmlns:p14="http://schemas.microsoft.com/office/powerpoint/2010/main" val="12373123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C8EB46E-754D-4239-8498-640983F9545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8" imgH="278" progId="TCLayout.ActiveDocument.1">
                  <p:embed/>
                </p:oleObj>
              </mc:Choice>
              <mc:Fallback>
                <p:oleObj name="think-cell Slide" r:id="rId4" imgW="278" imgH="278" progId="TCLayout.ActiveDocument.1">
                  <p:embed/>
                  <p:pic>
                    <p:nvPicPr>
                      <p:cNvPr id="5" name="Object 4" hidden="1">
                        <a:extLst>
                          <a:ext uri="{FF2B5EF4-FFF2-40B4-BE49-F238E27FC236}">
                            <a16:creationId xmlns:a16="http://schemas.microsoft.com/office/drawing/2014/main" id="{1C8EB46E-754D-4239-8498-640983F9545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0D5AF93A-54B4-41D8-B519-B05CA4715B2E}"/>
              </a:ext>
            </a:extLst>
          </p:cNvPr>
          <p:cNvSpPr/>
          <p:nvPr>
            <p:custDataLst>
              <p:tags r:id="rId2"/>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da-DK" sz="2400" dirty="0">
              <a:solidFill>
                <a:schemeClr val="bg1"/>
              </a:solidFill>
              <a:latin typeface="DFDS Bold" panose="00000800000000000000" pitchFamily="2" charset="0"/>
              <a:ea typeface="+mj-ea"/>
              <a:cs typeface="+mj-cs"/>
              <a:sym typeface="DFDS Bold" panose="00000800000000000000" pitchFamily="2" charset="0"/>
            </a:endParaRPr>
          </a:p>
        </p:txBody>
      </p:sp>
      <p:sp>
        <p:nvSpPr>
          <p:cNvPr id="2" name="Rectangle 4">
            <a:extLst>
              <a:ext uri="{FF2B5EF4-FFF2-40B4-BE49-F238E27FC236}">
                <a16:creationId xmlns:a16="http://schemas.microsoft.com/office/drawing/2014/main" id="{A06961C1-99B9-7713-1494-657D72D3628B}"/>
              </a:ext>
            </a:extLst>
          </p:cNvPr>
          <p:cNvSpPr txBox="1">
            <a:spLocks noChangeArrowheads="1"/>
          </p:cNvSpPr>
          <p:nvPr/>
        </p:nvSpPr>
        <p:spPr>
          <a:xfrm>
            <a:off x="277826" y="277826"/>
            <a:ext cx="10163481" cy="785812"/>
          </a:xfrm>
          <a:prstGeom prst="rect">
            <a:avLst/>
          </a:prstGeom>
        </p:spPr>
        <p:txBody>
          <a:bodyPr vert="horz" wrap="square" lIns="0" tIns="0" rIns="0" bIns="0" rtlCol="0" anchor="t">
            <a:noAutofit/>
          </a:bodyPr>
          <a:lstStyle>
            <a:defPPr>
              <a:defRPr lang="en-US"/>
            </a:defPPr>
            <a:lvl1pPr>
              <a:lnSpc>
                <a:spcPct val="90000"/>
              </a:lnSpc>
              <a:spcBef>
                <a:spcPct val="0"/>
              </a:spcBef>
              <a:buNone/>
              <a:defRPr sz="3200" cap="none" baseline="0">
                <a:solidFill>
                  <a:schemeClr val="accent1"/>
                </a:solidFill>
                <a:latin typeface="+mj-lt"/>
                <a:ea typeface="+mj-ea"/>
                <a:cs typeface="+mj-cs"/>
              </a:defRPr>
            </a:lvl1pPr>
          </a:lstStyle>
          <a:p>
            <a:r>
              <a:rPr lang="da-DK" sz="3000"/>
              <a:t>Key priorities 2025</a:t>
            </a:r>
            <a:endParaRPr lang="en-US" sz="3000" dirty="0"/>
          </a:p>
        </p:txBody>
      </p:sp>
      <p:sp>
        <p:nvSpPr>
          <p:cNvPr id="3" name="Content Placeholder 7">
            <a:extLst>
              <a:ext uri="{FF2B5EF4-FFF2-40B4-BE49-F238E27FC236}">
                <a16:creationId xmlns:a16="http://schemas.microsoft.com/office/drawing/2014/main" id="{EAD1E347-D5E4-4D63-D8BB-9D7E3EF614A1}"/>
              </a:ext>
            </a:extLst>
          </p:cNvPr>
          <p:cNvSpPr txBox="1">
            <a:spLocks/>
          </p:cNvSpPr>
          <p:nvPr/>
        </p:nvSpPr>
        <p:spPr bwMode="auto">
          <a:xfrm>
            <a:off x="277826" y="1903512"/>
            <a:ext cx="4741849" cy="3924300"/>
          </a:xfrm>
          <a:prstGeom prst="rect">
            <a:avLst/>
          </a:prstGeom>
          <a:noFill/>
          <a:ln w="9525">
            <a:noFill/>
            <a:miter lim="800000"/>
            <a:headEnd/>
            <a:tailEnd/>
          </a:ln>
        </p:spPr>
        <p:txBody>
          <a:bodyPr lIns="0" tIns="0" rIns="0" bIns="0"/>
          <a:lstStyle/>
          <a:p>
            <a:pPr marL="180969" indent="-180969">
              <a:lnSpc>
                <a:spcPts val="2300"/>
              </a:lnSpc>
              <a:buFont typeface="Arial" pitchFamily="34" charset="0"/>
              <a:buChar char="•"/>
              <a:defRPr/>
            </a:pPr>
            <a:r>
              <a:rPr lang="en-GB" sz="2000" b="1" dirty="0"/>
              <a:t>Protect &amp; grow</a:t>
            </a:r>
            <a:r>
              <a:rPr lang="en-GB" sz="2000" dirty="0"/>
              <a:t> underlying network strength</a:t>
            </a:r>
          </a:p>
          <a:p>
            <a:pPr marL="180969" indent="-180969">
              <a:lnSpc>
                <a:spcPts val="2300"/>
              </a:lnSpc>
              <a:buFont typeface="Arial" pitchFamily="34" charset="0"/>
              <a:buChar char="•"/>
              <a:defRPr/>
            </a:pPr>
            <a:endParaRPr lang="en-GB" sz="2000" dirty="0"/>
          </a:p>
          <a:p>
            <a:pPr marL="180969" indent="-180969">
              <a:lnSpc>
                <a:spcPts val="2300"/>
              </a:lnSpc>
              <a:buFont typeface="Arial" pitchFamily="34" charset="0"/>
              <a:buChar char="•"/>
              <a:defRPr/>
            </a:pPr>
            <a:r>
              <a:rPr lang="da-DK" sz="2000" b="1" dirty="0"/>
              <a:t>Organic</a:t>
            </a:r>
            <a:r>
              <a:rPr lang="da-DK" sz="2000" dirty="0"/>
              <a:t> growth focus</a:t>
            </a:r>
          </a:p>
          <a:p>
            <a:pPr marL="180969" indent="-180969">
              <a:lnSpc>
                <a:spcPts val="2300"/>
              </a:lnSpc>
              <a:buFont typeface="Arial" pitchFamily="34" charset="0"/>
              <a:buChar char="•"/>
              <a:defRPr/>
            </a:pPr>
            <a:endParaRPr lang="da-DK" sz="2000" dirty="0"/>
          </a:p>
          <a:p>
            <a:pPr marL="180969" indent="-180969">
              <a:lnSpc>
                <a:spcPts val="2300"/>
              </a:lnSpc>
              <a:buFont typeface="Arial" pitchFamily="34" charset="0"/>
              <a:buChar char="•"/>
              <a:defRPr/>
            </a:pPr>
            <a:r>
              <a:rPr lang="da-DK" sz="2000" b="1" dirty="0"/>
              <a:t>Resolve</a:t>
            </a:r>
            <a:r>
              <a:rPr lang="da-DK" sz="2000" dirty="0"/>
              <a:t> three specific focus areas</a:t>
            </a:r>
          </a:p>
          <a:p>
            <a:pPr marL="180969" indent="-180969">
              <a:lnSpc>
                <a:spcPts val="2300"/>
              </a:lnSpc>
              <a:buFont typeface="Arial" pitchFamily="34" charset="0"/>
              <a:buChar char="•"/>
              <a:defRPr/>
            </a:pPr>
            <a:endParaRPr lang="da-DK" sz="2000" dirty="0"/>
          </a:p>
          <a:p>
            <a:pPr marL="180969" indent="-180969">
              <a:lnSpc>
                <a:spcPts val="2300"/>
              </a:lnSpc>
              <a:buFont typeface="Arial" pitchFamily="34" charset="0"/>
              <a:buChar char="•"/>
              <a:defRPr/>
            </a:pPr>
            <a:r>
              <a:rPr lang="da-DK" sz="2000" b="1" dirty="0"/>
              <a:t>Cost focus</a:t>
            </a:r>
            <a:r>
              <a:rPr lang="da-DK" sz="2000" dirty="0"/>
              <a:t> – reverse cost increase trend</a:t>
            </a:r>
          </a:p>
          <a:p>
            <a:pPr marL="180969" indent="-180969">
              <a:lnSpc>
                <a:spcPts val="2300"/>
              </a:lnSpc>
              <a:buFont typeface="Arial" pitchFamily="34" charset="0"/>
              <a:buChar char="•"/>
              <a:defRPr/>
            </a:pPr>
            <a:endParaRPr lang="da-DK" sz="2000" dirty="0"/>
          </a:p>
          <a:p>
            <a:pPr marL="180969" indent="-180969">
              <a:lnSpc>
                <a:spcPts val="2300"/>
              </a:lnSpc>
              <a:buFont typeface="Arial" pitchFamily="34" charset="0"/>
              <a:buChar char="•"/>
              <a:defRPr/>
            </a:pPr>
            <a:r>
              <a:rPr lang="da-DK" sz="2000" b="1" dirty="0"/>
              <a:t>Cash flow</a:t>
            </a:r>
            <a:r>
              <a:rPr lang="da-DK" sz="2000" dirty="0"/>
              <a:t> focus</a:t>
            </a:r>
            <a:endParaRPr lang="da-DK" sz="2000" b="1" dirty="0"/>
          </a:p>
          <a:p>
            <a:pPr marL="180969" indent="-180969">
              <a:lnSpc>
                <a:spcPts val="2300"/>
              </a:lnSpc>
              <a:buFont typeface="Arial" pitchFamily="34" charset="0"/>
              <a:buChar char="•"/>
              <a:defRPr/>
            </a:pPr>
            <a:endParaRPr lang="da-DK" sz="2000" b="1" dirty="0"/>
          </a:p>
          <a:p>
            <a:pPr marL="180969" indent="-180969">
              <a:lnSpc>
                <a:spcPts val="2300"/>
              </a:lnSpc>
              <a:buFont typeface="Arial" pitchFamily="34" charset="0"/>
              <a:buChar char="•"/>
              <a:defRPr/>
            </a:pPr>
            <a:r>
              <a:rPr lang="da-DK" sz="2000" b="1" dirty="0"/>
              <a:t>Green transition and Diversity -</a:t>
            </a:r>
            <a:r>
              <a:rPr lang="da-DK" sz="2000" dirty="0"/>
              <a:t> continue to deliver on targets</a:t>
            </a:r>
          </a:p>
          <a:p>
            <a:pPr marL="180969" indent="-180969">
              <a:lnSpc>
                <a:spcPts val="2300"/>
              </a:lnSpc>
              <a:buFont typeface="Arial" pitchFamily="34" charset="0"/>
              <a:buChar char="•"/>
              <a:defRPr/>
            </a:pPr>
            <a:endParaRPr lang="da-DK" sz="2000" dirty="0"/>
          </a:p>
        </p:txBody>
      </p:sp>
      <p:sp>
        <p:nvSpPr>
          <p:cNvPr id="7" name="Slide Number Placeholder 1">
            <a:extLst>
              <a:ext uri="{FF2B5EF4-FFF2-40B4-BE49-F238E27FC236}">
                <a16:creationId xmlns:a16="http://schemas.microsoft.com/office/drawing/2014/main" id="{9BC658B3-7B17-6BE2-5FCE-4FC5965D8AFE}"/>
              </a:ext>
            </a:extLst>
          </p:cNvPr>
          <p:cNvSpPr txBox="1">
            <a:spLocks/>
          </p:cNvSpPr>
          <p:nvPr/>
        </p:nvSpPr>
        <p:spPr>
          <a:xfrm>
            <a:off x="234975" y="6431279"/>
            <a:ext cx="323438" cy="1800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6BB336-FA68-49FA-BBEA-E8420972406D}" type="slidenum">
              <a:rPr lang="en-GB" sz="800" smtClean="0"/>
              <a:pPr/>
              <a:t>25</a:t>
            </a:fld>
            <a:endParaRPr lang="en-GB" sz="800"/>
          </a:p>
        </p:txBody>
      </p:sp>
      <p:sp>
        <p:nvSpPr>
          <p:cNvPr id="8" name="Picture Placeholder 7">
            <a:extLst>
              <a:ext uri="{FF2B5EF4-FFF2-40B4-BE49-F238E27FC236}">
                <a16:creationId xmlns:a16="http://schemas.microsoft.com/office/drawing/2014/main" id="{A93FD8C5-FAA9-4222-21F2-6783E4BD6E14}"/>
              </a:ext>
            </a:extLst>
          </p:cNvPr>
          <p:cNvSpPr>
            <a:spLocks noGrp="1"/>
          </p:cNvSpPr>
          <p:nvPr>
            <p:ph type="pic" sz="quarter" idx="18"/>
          </p:nvPr>
        </p:nvSpPr>
        <p:spPr/>
        <p:txBody>
          <a:bodyPr/>
          <a:lstStyle/>
          <a:p>
            <a:endParaRPr lang="da-DK"/>
          </a:p>
        </p:txBody>
      </p:sp>
      <p:pic>
        <p:nvPicPr>
          <p:cNvPr id="4" name="Picture 3" descr="A person in an orange jumpsuit holding a blue pipe to a truck&#10;&#10;Description automatically generated">
            <a:extLst>
              <a:ext uri="{FF2B5EF4-FFF2-40B4-BE49-F238E27FC236}">
                <a16:creationId xmlns:a16="http://schemas.microsoft.com/office/drawing/2014/main" id="{1B07A822-CC8A-AA5A-10AA-11D1D98248B8}"/>
              </a:ext>
            </a:extLst>
          </p:cNvPr>
          <p:cNvPicPr>
            <a:picLocks noChangeAspect="1"/>
          </p:cNvPicPr>
          <p:nvPr/>
        </p:nvPicPr>
        <p:blipFill rotWithShape="1">
          <a:blip r:embed="rId6">
            <a:extLst>
              <a:ext uri="{28A0092B-C50C-407E-A947-70E740481C1C}">
                <a14:useLocalDpi xmlns:a14="http://schemas.microsoft.com/office/drawing/2010/main" val="0"/>
              </a:ext>
            </a:extLst>
          </a:blip>
          <a:srcRect l="31683"/>
          <a:stretch/>
        </p:blipFill>
        <p:spPr>
          <a:xfrm>
            <a:off x="6183328" y="1"/>
            <a:ext cx="7022260" cy="6858000"/>
          </a:xfrm>
          <a:prstGeom prst="rect">
            <a:avLst/>
          </a:prstGeom>
        </p:spPr>
      </p:pic>
    </p:spTree>
    <p:extLst>
      <p:ext uri="{BB962C8B-B14F-4D97-AF65-F5344CB8AC3E}">
        <p14:creationId xmlns:p14="http://schemas.microsoft.com/office/powerpoint/2010/main" val="61388696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543574F5-FEA1-3F53-A16D-E96870D713E5}"/>
              </a:ext>
            </a:extLst>
          </p:cNvPr>
          <p:cNvSpPr>
            <a:spLocks noGrp="1"/>
          </p:cNvSpPr>
          <p:nvPr>
            <p:ph type="sldNum" sz="quarter" idx="12"/>
          </p:nvPr>
        </p:nvSpPr>
        <p:spPr/>
        <p:txBody>
          <a:bodyPr/>
          <a:lstStyle/>
          <a:p>
            <a:fld id="{23AA811B-2EBD-4900-905E-5BE206449611}" type="slidenum">
              <a:rPr lang="en-GB" smtClean="0">
                <a:solidFill>
                  <a:schemeClr val="bg1"/>
                </a:solidFill>
              </a:rPr>
              <a:pPr/>
              <a:t>26</a:t>
            </a:fld>
            <a:endParaRPr lang="en-GB">
              <a:solidFill>
                <a:schemeClr val="bg1"/>
              </a:solidFill>
            </a:endParaRPr>
          </a:p>
        </p:txBody>
      </p:sp>
    </p:spTree>
    <p:extLst>
      <p:ext uri="{BB962C8B-B14F-4D97-AF65-F5344CB8AC3E}">
        <p14:creationId xmlns:p14="http://schemas.microsoft.com/office/powerpoint/2010/main" val="9084824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AB653A-1379-A141-6D77-8AA3943CD035}"/>
            </a:ext>
          </a:extLst>
        </p:cNvPr>
        <p:cNvGrpSpPr/>
        <p:nvPr/>
      </p:nvGrpSpPr>
      <p:grpSpPr>
        <a:xfrm>
          <a:off x="0" y="0"/>
          <a:ext cx="0" cy="0"/>
          <a:chOff x="0" y="0"/>
          <a:chExt cx="0" cy="0"/>
        </a:xfrm>
      </p:grpSpPr>
      <p:sp>
        <p:nvSpPr>
          <p:cNvPr id="25" name="Picture Placeholder 24">
            <a:extLst>
              <a:ext uri="{FF2B5EF4-FFF2-40B4-BE49-F238E27FC236}">
                <a16:creationId xmlns:a16="http://schemas.microsoft.com/office/drawing/2014/main" id="{46EE3CE6-D4DF-B0A1-8833-5DCC06AB9D6D}"/>
              </a:ext>
            </a:extLst>
          </p:cNvPr>
          <p:cNvSpPr>
            <a:spLocks noGrp="1"/>
          </p:cNvSpPr>
          <p:nvPr>
            <p:ph type="pic" sz="quarter" idx="18"/>
          </p:nvPr>
        </p:nvSpPr>
        <p:spPr/>
        <p:txBody>
          <a:bodyPr/>
          <a:lstStyle/>
          <a:p>
            <a:endParaRPr lang="da-DK"/>
          </a:p>
        </p:txBody>
      </p:sp>
      <p:graphicFrame>
        <p:nvGraphicFramePr>
          <p:cNvPr id="5" name="Object 4" hidden="1">
            <a:extLst>
              <a:ext uri="{FF2B5EF4-FFF2-40B4-BE49-F238E27FC236}">
                <a16:creationId xmlns:a16="http://schemas.microsoft.com/office/drawing/2014/main" id="{C91CC852-5B9F-D6D7-2012-FAC246F05A6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8" imgH="278" progId="TCLayout.ActiveDocument.1">
                  <p:embed/>
                </p:oleObj>
              </mc:Choice>
              <mc:Fallback>
                <p:oleObj name="think-cell Slide" r:id="rId5" imgW="278" imgH="278" progId="TCLayout.ActiveDocument.1">
                  <p:embed/>
                  <p:pic>
                    <p:nvPicPr>
                      <p:cNvPr id="5" name="Object 4" hidden="1">
                        <a:extLst>
                          <a:ext uri="{FF2B5EF4-FFF2-40B4-BE49-F238E27FC236}">
                            <a16:creationId xmlns:a16="http://schemas.microsoft.com/office/drawing/2014/main" id="{C91CC852-5B9F-D6D7-2012-FAC246F05A6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C7E27B0A-D8AA-EA3D-BD8D-FCCF6D09256E}"/>
              </a:ext>
            </a:extLst>
          </p:cNvPr>
          <p:cNvSpPr/>
          <p:nvPr>
            <p:custDataLst>
              <p:tags r:id="rId2"/>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da-DK" sz="2400">
              <a:solidFill>
                <a:schemeClr val="bg1"/>
              </a:solidFill>
              <a:latin typeface="DFDS Bold" panose="00000800000000000000" pitchFamily="2" charset="0"/>
              <a:ea typeface="+mj-ea"/>
              <a:cs typeface="+mj-cs"/>
              <a:sym typeface="DFDS Bold" panose="00000800000000000000" pitchFamily="2" charset="0"/>
            </a:endParaRPr>
          </a:p>
        </p:txBody>
      </p:sp>
      <p:sp>
        <p:nvSpPr>
          <p:cNvPr id="16" name="Rectangle 4">
            <a:extLst>
              <a:ext uri="{FF2B5EF4-FFF2-40B4-BE49-F238E27FC236}">
                <a16:creationId xmlns:a16="http://schemas.microsoft.com/office/drawing/2014/main" id="{9ED64F78-9AB7-A680-91ED-4C98362C5AC5}"/>
              </a:ext>
            </a:extLst>
          </p:cNvPr>
          <p:cNvSpPr txBox="1">
            <a:spLocks noChangeArrowheads="1"/>
          </p:cNvSpPr>
          <p:nvPr/>
        </p:nvSpPr>
        <p:spPr>
          <a:xfrm>
            <a:off x="277454" y="276129"/>
            <a:ext cx="11643084" cy="785812"/>
          </a:xfrm>
          <a:prstGeom prst="rect">
            <a:avLst/>
          </a:prstGeom>
        </p:spPr>
        <p:txBody>
          <a:bodyPr vert="horz" wrap="square" lIns="0" tIns="0" rIns="0" bIns="0" rtlCol="0" anchor="ctr">
            <a:noAutofit/>
          </a:bodyPr>
          <a:lstStyle>
            <a:defPPr>
              <a:defRPr lang="en-US"/>
            </a:defPPr>
            <a:lvl1pPr>
              <a:lnSpc>
                <a:spcPct val="90000"/>
              </a:lnSpc>
              <a:spcBef>
                <a:spcPct val="0"/>
              </a:spcBef>
              <a:buNone/>
              <a:defRPr sz="3200" cap="none" baseline="0">
                <a:solidFill>
                  <a:schemeClr val="accent1"/>
                </a:solidFill>
                <a:latin typeface="+mj-lt"/>
                <a:ea typeface="+mj-ea"/>
                <a:cs typeface="+mj-cs"/>
              </a:defRPr>
            </a:lvl1pPr>
          </a:lstStyle>
          <a:p>
            <a:r>
              <a:rPr lang="da-DK" sz="2800"/>
              <a:t>Moving Together Towards 2030 – Moving to green</a:t>
            </a:r>
          </a:p>
          <a:p>
            <a:endParaRPr lang="en-US" sz="2800"/>
          </a:p>
        </p:txBody>
      </p:sp>
      <p:sp>
        <p:nvSpPr>
          <p:cNvPr id="18" name="TextBox 8">
            <a:extLst>
              <a:ext uri="{FF2B5EF4-FFF2-40B4-BE49-F238E27FC236}">
                <a16:creationId xmlns:a16="http://schemas.microsoft.com/office/drawing/2014/main" id="{E974FC37-2D3B-A2AA-D4B2-D9D801F89FA6}"/>
              </a:ext>
            </a:extLst>
          </p:cNvPr>
          <p:cNvSpPr txBox="1">
            <a:spLocks noChangeArrowheads="1"/>
          </p:cNvSpPr>
          <p:nvPr/>
        </p:nvSpPr>
        <p:spPr bwMode="auto">
          <a:xfrm>
            <a:off x="11501438" y="1285875"/>
            <a:ext cx="1847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atin typeface="DFDS Light" panose="02000300000000020000" pitchFamily="2" charset="0"/>
            </a:endParaRPr>
          </a:p>
        </p:txBody>
      </p:sp>
      <p:sp>
        <p:nvSpPr>
          <p:cNvPr id="2" name="Slide Number Placeholder 1">
            <a:extLst>
              <a:ext uri="{FF2B5EF4-FFF2-40B4-BE49-F238E27FC236}">
                <a16:creationId xmlns:a16="http://schemas.microsoft.com/office/drawing/2014/main" id="{36EF6529-842E-77C1-4B46-49A860DFBEDE}"/>
              </a:ext>
            </a:extLst>
          </p:cNvPr>
          <p:cNvSpPr txBox="1">
            <a:spLocks/>
          </p:cNvSpPr>
          <p:nvPr/>
        </p:nvSpPr>
        <p:spPr>
          <a:xfrm>
            <a:off x="234975" y="6431279"/>
            <a:ext cx="323438" cy="1800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6BB336-FA68-49FA-BBEA-E8420972406D}" type="slidenum">
              <a:rPr lang="en-GB" sz="800" smtClean="0">
                <a:solidFill>
                  <a:schemeClr val="bg1"/>
                </a:solidFill>
              </a:rPr>
              <a:pPr/>
              <a:t>3</a:t>
            </a:fld>
            <a:endParaRPr lang="en-GB" sz="800">
              <a:solidFill>
                <a:schemeClr val="bg1"/>
              </a:solidFill>
            </a:endParaRPr>
          </a:p>
        </p:txBody>
      </p:sp>
      <p:sp>
        <p:nvSpPr>
          <p:cNvPr id="20" name="TextBox 19">
            <a:extLst>
              <a:ext uri="{FF2B5EF4-FFF2-40B4-BE49-F238E27FC236}">
                <a16:creationId xmlns:a16="http://schemas.microsoft.com/office/drawing/2014/main" id="{EABB69D7-8660-35CB-9AE0-EAF5DF051A79}"/>
              </a:ext>
            </a:extLst>
          </p:cNvPr>
          <p:cNvSpPr txBox="1"/>
          <p:nvPr/>
        </p:nvSpPr>
        <p:spPr>
          <a:xfrm>
            <a:off x="271333" y="455093"/>
            <a:ext cx="5735767" cy="5909310"/>
          </a:xfrm>
          <a:prstGeom prst="rect">
            <a:avLst/>
          </a:prstGeom>
          <a:noFill/>
          <a:ln w="9525">
            <a:noFill/>
            <a:miter lim="800000"/>
            <a:headEnd/>
            <a:tailEnd/>
          </a:ln>
        </p:spPr>
        <p:txBody>
          <a:bodyPr lIns="0" tIns="0" rIns="0" bIns="0"/>
          <a:lstStyle>
            <a:defPPr>
              <a:defRPr lang="en-US"/>
            </a:defPPr>
            <a:lvl1pPr marL="180969" indent="-180969">
              <a:buFont typeface="Arial" pitchFamily="34" charset="0"/>
              <a:buChar char="•"/>
              <a:defRPr>
                <a:latin typeface="DFDS Sans Offc" panose="00000500000000000000" pitchFamily="2" charset="0"/>
              </a:defRPr>
            </a:lvl1pPr>
          </a:lstStyle>
          <a:p>
            <a:pPr marL="0" indent="0">
              <a:buNone/>
            </a:pPr>
            <a:r>
              <a:rPr lang="en-GB" sz="2800">
                <a:solidFill>
                  <a:schemeClr val="bg1"/>
                </a:solidFill>
                <a:latin typeface="DFDS Sans Medium" panose="00000600000000000000" pitchFamily="2" charset="0"/>
              </a:rPr>
              <a:t>Moving Together Towards 2030</a:t>
            </a:r>
            <a:endParaRPr lang="da-DK" sz="2800">
              <a:solidFill>
                <a:schemeClr val="bg1"/>
              </a:solidFill>
              <a:latin typeface="DFDS Sans Medium" panose="00000600000000000000" pitchFamily="2" charset="0"/>
            </a:endParaRPr>
          </a:p>
          <a:p>
            <a:pPr marL="0" indent="0">
              <a:buNone/>
            </a:pPr>
            <a:r>
              <a:rPr lang="en-GB">
                <a:solidFill>
                  <a:schemeClr val="bg1"/>
                </a:solidFill>
              </a:rPr>
              <a:t> </a:t>
            </a:r>
          </a:p>
          <a:p>
            <a:pPr marL="0" indent="0">
              <a:buNone/>
            </a:pPr>
            <a:endParaRPr lang="da-DK" b="1">
              <a:solidFill>
                <a:schemeClr val="bg1"/>
              </a:solidFill>
              <a:latin typeface="DFDS Sans Medium" panose="00000600000000000000" pitchFamily="2" charset="0"/>
            </a:endParaRPr>
          </a:p>
          <a:p>
            <a:pPr marL="0" indent="0">
              <a:buNone/>
            </a:pPr>
            <a:r>
              <a:rPr lang="en-GB" b="1">
                <a:solidFill>
                  <a:schemeClr val="accent3"/>
                </a:solidFill>
                <a:latin typeface="DFDS Sans Medium" panose="00000600000000000000" pitchFamily="2" charset="0"/>
              </a:rPr>
              <a:t>Unlock network value, 2024-2026</a:t>
            </a:r>
            <a:endParaRPr lang="da-DK" b="1">
              <a:solidFill>
                <a:schemeClr val="accent3"/>
              </a:solidFill>
              <a:latin typeface="DFDS Sans Medium" panose="00000600000000000000" pitchFamily="2" charset="0"/>
            </a:endParaRPr>
          </a:p>
          <a:p>
            <a:pPr>
              <a:lnSpc>
                <a:spcPts val="2100"/>
              </a:lnSpc>
            </a:pPr>
            <a:r>
              <a:rPr lang="en-GB" sz="1600">
                <a:solidFill>
                  <a:schemeClr val="bg1"/>
                </a:solidFill>
              </a:rPr>
              <a:t>Protect &amp; Grow Profits</a:t>
            </a:r>
          </a:p>
          <a:p>
            <a:pPr>
              <a:lnSpc>
                <a:spcPts val="2100"/>
              </a:lnSpc>
            </a:pPr>
            <a:r>
              <a:rPr lang="en-GB" sz="1600">
                <a:solidFill>
                  <a:schemeClr val="bg1"/>
                </a:solidFill>
              </a:rPr>
              <a:t>Standardise to simplify</a:t>
            </a:r>
          </a:p>
          <a:p>
            <a:pPr>
              <a:lnSpc>
                <a:spcPts val="2100"/>
              </a:lnSpc>
            </a:pPr>
            <a:r>
              <a:rPr lang="en-GB" sz="1600">
                <a:solidFill>
                  <a:schemeClr val="bg1"/>
                </a:solidFill>
              </a:rPr>
              <a:t>Digitise to transform</a:t>
            </a:r>
          </a:p>
          <a:p>
            <a:pPr>
              <a:lnSpc>
                <a:spcPts val="2100"/>
              </a:lnSpc>
            </a:pPr>
            <a:r>
              <a:rPr lang="en-GB" sz="1600">
                <a:solidFill>
                  <a:schemeClr val="bg1"/>
                </a:solidFill>
              </a:rPr>
              <a:t>Moving to green</a:t>
            </a:r>
          </a:p>
          <a:p>
            <a:pPr>
              <a:lnSpc>
                <a:spcPts val="2100"/>
              </a:lnSpc>
            </a:pPr>
            <a:r>
              <a:rPr lang="en-GB" sz="1600">
                <a:solidFill>
                  <a:schemeClr val="bg1"/>
                </a:solidFill>
              </a:rPr>
              <a:t>Be a great place to work</a:t>
            </a:r>
          </a:p>
          <a:p>
            <a:pPr marL="0" indent="0">
              <a:buNone/>
            </a:pPr>
            <a:endParaRPr lang="en-GB" b="1">
              <a:solidFill>
                <a:schemeClr val="bg1"/>
              </a:solidFill>
              <a:latin typeface="DFDS Sans Medium" panose="00000600000000000000" pitchFamily="2" charset="0"/>
            </a:endParaRPr>
          </a:p>
          <a:p>
            <a:pPr marL="0" indent="0">
              <a:buNone/>
            </a:pPr>
            <a:r>
              <a:rPr lang="en-GB" b="1">
                <a:solidFill>
                  <a:schemeClr val="accent3"/>
                </a:solidFill>
                <a:latin typeface="DFDS Sans Medium" panose="00000600000000000000" pitchFamily="2" charset="0"/>
              </a:rPr>
              <a:t>Green transition, 2024-2030</a:t>
            </a:r>
            <a:endParaRPr lang="da-DK" b="1">
              <a:solidFill>
                <a:schemeClr val="accent3"/>
              </a:solidFill>
              <a:latin typeface="DFDS Sans Medium" panose="00000600000000000000" pitchFamily="2" charset="0"/>
            </a:endParaRPr>
          </a:p>
          <a:p>
            <a:pPr>
              <a:lnSpc>
                <a:spcPts val="2100"/>
              </a:lnSpc>
            </a:pPr>
            <a:r>
              <a:rPr lang="en-GB" sz="1600">
                <a:solidFill>
                  <a:schemeClr val="bg1"/>
                </a:solidFill>
              </a:rPr>
              <a:t>45% reduction in ferry emission intensity</a:t>
            </a:r>
            <a:endParaRPr lang="da-DK" sz="1600">
              <a:solidFill>
                <a:schemeClr val="bg1"/>
              </a:solidFill>
            </a:endParaRPr>
          </a:p>
          <a:p>
            <a:pPr>
              <a:lnSpc>
                <a:spcPts val="2100"/>
              </a:lnSpc>
            </a:pPr>
            <a:r>
              <a:rPr lang="en-GB" sz="1600">
                <a:solidFill>
                  <a:schemeClr val="bg1"/>
                </a:solidFill>
              </a:rPr>
              <a:t>Low-emission ferry new-building programme</a:t>
            </a:r>
            <a:endParaRPr lang="da-DK" sz="1600">
              <a:solidFill>
                <a:schemeClr val="bg1"/>
              </a:solidFill>
            </a:endParaRPr>
          </a:p>
          <a:p>
            <a:pPr>
              <a:lnSpc>
                <a:spcPts val="2100"/>
              </a:lnSpc>
            </a:pPr>
            <a:r>
              <a:rPr lang="en-GB" sz="1600">
                <a:solidFill>
                  <a:schemeClr val="bg1"/>
                </a:solidFill>
              </a:rPr>
              <a:t>75% reduction of land emission intensity</a:t>
            </a:r>
            <a:endParaRPr lang="da-DK" sz="1600">
              <a:solidFill>
                <a:schemeClr val="bg1"/>
              </a:solidFill>
            </a:endParaRPr>
          </a:p>
          <a:p>
            <a:endParaRPr lang="da-DK" sz="1600">
              <a:solidFill>
                <a:schemeClr val="bg1"/>
              </a:solidFill>
            </a:endParaRPr>
          </a:p>
          <a:p>
            <a:pPr marL="0" indent="0">
              <a:buNone/>
            </a:pPr>
            <a:r>
              <a:rPr lang="en-GB" b="1">
                <a:solidFill>
                  <a:schemeClr val="accent3"/>
                </a:solidFill>
                <a:latin typeface="DFDS Sans Medium" panose="00000600000000000000" pitchFamily="2" charset="0"/>
              </a:rPr>
              <a:t>Cash flow focus</a:t>
            </a:r>
            <a:endParaRPr lang="da-DK" b="1">
              <a:solidFill>
                <a:schemeClr val="accent3"/>
              </a:solidFill>
              <a:latin typeface="DFDS Sans Medium" panose="00000600000000000000" pitchFamily="2" charset="0"/>
            </a:endParaRPr>
          </a:p>
          <a:p>
            <a:pPr>
              <a:lnSpc>
                <a:spcPts val="2100"/>
              </a:lnSpc>
            </a:pPr>
            <a:r>
              <a:rPr lang="en-GB" sz="1600">
                <a:solidFill>
                  <a:schemeClr val="bg1"/>
                </a:solidFill>
              </a:rPr>
              <a:t>Long-term NIBD/EBITDA target range of 2.0-3.0x</a:t>
            </a:r>
            <a:endParaRPr lang="da-DK" sz="1600">
              <a:solidFill>
                <a:schemeClr val="bg1"/>
              </a:solidFill>
            </a:endParaRPr>
          </a:p>
          <a:p>
            <a:pPr>
              <a:lnSpc>
                <a:spcPts val="2100"/>
              </a:lnSpc>
            </a:pPr>
            <a:r>
              <a:rPr lang="en-GB" sz="1600">
                <a:solidFill>
                  <a:schemeClr val="bg1"/>
                </a:solidFill>
              </a:rPr>
              <a:t>Deleverage capital structure</a:t>
            </a:r>
          </a:p>
          <a:p>
            <a:pPr>
              <a:lnSpc>
                <a:spcPts val="2100"/>
              </a:lnSpc>
            </a:pPr>
            <a:r>
              <a:rPr lang="en-GB" sz="1600">
                <a:solidFill>
                  <a:schemeClr val="bg1"/>
                </a:solidFill>
              </a:rPr>
              <a:t>Non-core asset review</a:t>
            </a:r>
          </a:p>
          <a:p>
            <a:pPr>
              <a:lnSpc>
                <a:spcPts val="2100"/>
              </a:lnSpc>
            </a:pPr>
            <a:r>
              <a:rPr lang="en-GB" sz="1600">
                <a:solidFill>
                  <a:schemeClr val="bg1"/>
                </a:solidFill>
              </a:rPr>
              <a:t>Working capital initiatives</a:t>
            </a:r>
            <a:endParaRPr lang="da-DK" sz="1600">
              <a:solidFill>
                <a:schemeClr val="bg1"/>
              </a:solidFill>
            </a:endParaRPr>
          </a:p>
        </p:txBody>
      </p:sp>
      <p:sp>
        <p:nvSpPr>
          <p:cNvPr id="3" name="Footer Placeholder 2">
            <a:extLst>
              <a:ext uri="{FF2B5EF4-FFF2-40B4-BE49-F238E27FC236}">
                <a16:creationId xmlns:a16="http://schemas.microsoft.com/office/drawing/2014/main" id="{CF8DD0FC-5D1A-7FFA-7F53-4C0447511450}"/>
              </a:ext>
            </a:extLst>
          </p:cNvPr>
          <p:cNvSpPr>
            <a:spLocks noGrp="1"/>
          </p:cNvSpPr>
          <p:nvPr>
            <p:ph type="ftr" sz="quarter" idx="16"/>
          </p:nvPr>
        </p:nvSpPr>
        <p:spPr/>
        <p:txBody>
          <a:bodyPr/>
          <a:lstStyle/>
          <a:p>
            <a:endParaRPr lang="en-GB"/>
          </a:p>
        </p:txBody>
      </p:sp>
      <p:sp>
        <p:nvSpPr>
          <p:cNvPr id="4" name="Slide Number Placeholder 3">
            <a:extLst>
              <a:ext uri="{FF2B5EF4-FFF2-40B4-BE49-F238E27FC236}">
                <a16:creationId xmlns:a16="http://schemas.microsoft.com/office/drawing/2014/main" id="{B7735034-FE6C-287F-369D-8E42C2A3B72F}"/>
              </a:ext>
            </a:extLst>
          </p:cNvPr>
          <p:cNvSpPr>
            <a:spLocks noGrp="1"/>
          </p:cNvSpPr>
          <p:nvPr>
            <p:ph type="sldNum" sz="quarter" idx="17"/>
          </p:nvPr>
        </p:nvSpPr>
        <p:spPr/>
        <p:txBody>
          <a:bodyPr/>
          <a:lstStyle/>
          <a:p>
            <a:fld id="{23AA811B-2EBD-4900-905E-5BE206449611}" type="slidenum">
              <a:rPr lang="en-GB" smtClean="0"/>
              <a:pPr/>
              <a:t>3</a:t>
            </a:fld>
            <a:endParaRPr lang="en-GB"/>
          </a:p>
        </p:txBody>
      </p:sp>
      <p:pic>
        <p:nvPicPr>
          <p:cNvPr id="19" name="Picture 18">
            <a:extLst>
              <a:ext uri="{FF2B5EF4-FFF2-40B4-BE49-F238E27FC236}">
                <a16:creationId xmlns:a16="http://schemas.microsoft.com/office/drawing/2014/main" id="{AD84A440-F10F-B059-B625-4507BC8F2ABD}"/>
              </a:ext>
            </a:extLst>
          </p:cNvPr>
          <p:cNvPicPr>
            <a:picLocks noChangeAspect="1"/>
          </p:cNvPicPr>
          <p:nvPr/>
        </p:nvPicPr>
        <p:blipFill>
          <a:blip r:embed="rId7">
            <a:extLst>
              <a:ext uri="{28A0092B-C50C-407E-A947-70E740481C1C}">
                <a14:useLocalDpi xmlns:a14="http://schemas.microsoft.com/office/drawing/2010/main" val="0"/>
              </a:ext>
            </a:extLst>
          </a:blip>
          <a:srcRect l="21050" r="21050"/>
          <a:stretch/>
        </p:blipFill>
        <p:spPr>
          <a:xfrm>
            <a:off x="6181351" y="0"/>
            <a:ext cx="6084468" cy="6858000"/>
          </a:xfrm>
          <a:prstGeom prst="rect">
            <a:avLst/>
          </a:prstGeom>
        </p:spPr>
      </p:pic>
    </p:spTree>
    <p:extLst>
      <p:ext uri="{BB962C8B-B14F-4D97-AF65-F5344CB8AC3E}">
        <p14:creationId xmlns:p14="http://schemas.microsoft.com/office/powerpoint/2010/main" val="341904505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C8EB46E-754D-4239-8498-640983F9545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8" imgH="278" progId="TCLayout.ActiveDocument.1">
                  <p:embed/>
                </p:oleObj>
              </mc:Choice>
              <mc:Fallback>
                <p:oleObj name="think-cell Slide" r:id="rId5" imgW="278" imgH="278" progId="TCLayout.ActiveDocument.1">
                  <p:embed/>
                  <p:pic>
                    <p:nvPicPr>
                      <p:cNvPr id="5" name="Object 4" hidden="1">
                        <a:extLst>
                          <a:ext uri="{FF2B5EF4-FFF2-40B4-BE49-F238E27FC236}">
                            <a16:creationId xmlns:a16="http://schemas.microsoft.com/office/drawing/2014/main" id="{1C8EB46E-754D-4239-8498-640983F9545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0D5AF93A-54B4-41D8-B519-B05CA4715B2E}"/>
              </a:ext>
            </a:extLst>
          </p:cNvPr>
          <p:cNvSpPr/>
          <p:nvPr>
            <p:custDataLst>
              <p:tags r:id="rId2"/>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da-DK" sz="2400" dirty="0">
              <a:solidFill>
                <a:schemeClr val="bg1"/>
              </a:solidFill>
              <a:latin typeface="DFDS Bold" panose="00000800000000000000" pitchFamily="2" charset="0"/>
              <a:ea typeface="+mj-ea"/>
              <a:cs typeface="+mj-cs"/>
              <a:sym typeface="DFDS Bold" panose="00000800000000000000" pitchFamily="2" charset="0"/>
            </a:endParaRPr>
          </a:p>
        </p:txBody>
      </p:sp>
      <p:sp>
        <p:nvSpPr>
          <p:cNvPr id="9" name="Rectangle 4">
            <a:extLst>
              <a:ext uri="{FF2B5EF4-FFF2-40B4-BE49-F238E27FC236}">
                <a16:creationId xmlns:a16="http://schemas.microsoft.com/office/drawing/2014/main" id="{4BFC6C65-2C12-4A00-B8C8-CC4B85B0A241}"/>
              </a:ext>
            </a:extLst>
          </p:cNvPr>
          <p:cNvSpPr>
            <a:spLocks noGrp="1" noChangeArrowheads="1"/>
          </p:cNvSpPr>
          <p:nvPr>
            <p:ph type="title"/>
          </p:nvPr>
        </p:nvSpPr>
        <p:spPr>
          <a:xfrm>
            <a:off x="277495" y="273012"/>
            <a:ext cx="11340611" cy="785812"/>
          </a:xfrm>
        </p:spPr>
        <p:txBody>
          <a:bodyPr vert="horz" wrap="square" lIns="0" tIns="0" rIns="0" bIns="0" rtlCol="0" anchor="t">
            <a:noAutofit/>
          </a:bodyPr>
          <a:lstStyle/>
          <a:p>
            <a:r>
              <a:rPr lang="da-DK" sz="3200"/>
              <a:t>Network expanded in financially challenging 2024</a:t>
            </a:r>
            <a:endParaRPr lang="en-US" sz="3200" dirty="0"/>
          </a:p>
        </p:txBody>
      </p:sp>
      <p:sp>
        <p:nvSpPr>
          <p:cNvPr id="13" name="TextBox 8">
            <a:extLst>
              <a:ext uri="{FF2B5EF4-FFF2-40B4-BE49-F238E27FC236}">
                <a16:creationId xmlns:a16="http://schemas.microsoft.com/office/drawing/2014/main" id="{4B3161E5-63AD-493C-AF4F-D409610EE674}"/>
              </a:ext>
            </a:extLst>
          </p:cNvPr>
          <p:cNvSpPr txBox="1">
            <a:spLocks noChangeArrowheads="1"/>
          </p:cNvSpPr>
          <p:nvPr/>
        </p:nvSpPr>
        <p:spPr bwMode="auto">
          <a:xfrm>
            <a:off x="11501438" y="1285875"/>
            <a:ext cx="1847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atin typeface="DFDS Light" panose="02000300000000020000" pitchFamily="2" charset="0"/>
            </a:endParaRPr>
          </a:p>
        </p:txBody>
      </p:sp>
      <p:sp>
        <p:nvSpPr>
          <p:cNvPr id="15" name="Content Placeholder 7">
            <a:extLst>
              <a:ext uri="{FF2B5EF4-FFF2-40B4-BE49-F238E27FC236}">
                <a16:creationId xmlns:a16="http://schemas.microsoft.com/office/drawing/2014/main" id="{A1661563-AFB2-40EA-913C-DA665A743FF5}"/>
              </a:ext>
            </a:extLst>
          </p:cNvPr>
          <p:cNvSpPr txBox="1">
            <a:spLocks/>
          </p:cNvSpPr>
          <p:nvPr/>
        </p:nvSpPr>
        <p:spPr bwMode="auto">
          <a:xfrm>
            <a:off x="4818261" y="1655207"/>
            <a:ext cx="2555477" cy="3924300"/>
          </a:xfrm>
          <a:prstGeom prst="rect">
            <a:avLst/>
          </a:prstGeom>
          <a:solidFill>
            <a:schemeClr val="accent6"/>
          </a:solidFill>
          <a:ln>
            <a:noFill/>
          </a:ln>
        </p:spPr>
        <p:txBody>
          <a:bodyPr lIns="108000" tIns="72000" rIns="72000" bIns="0"/>
          <a:lstStyle>
            <a:lvl1pPr marL="180975" indent="-180975">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indent="0"/>
            <a:r>
              <a:rPr lang="da-DK" sz="1400" b="1" dirty="0">
                <a:solidFill>
                  <a:schemeClr val="accent1"/>
                </a:solidFill>
                <a:latin typeface="+mn-lt"/>
              </a:rPr>
              <a:t>Financially challenging year</a:t>
            </a:r>
            <a:endParaRPr lang="da-DK" sz="1400" dirty="0">
              <a:solidFill>
                <a:schemeClr val="accent1"/>
              </a:solidFill>
              <a:latin typeface="+mn-lt"/>
            </a:endParaRPr>
          </a:p>
          <a:p>
            <a:pPr marL="0" indent="0"/>
            <a:endParaRPr lang="da-DK" sz="1400" dirty="0">
              <a:solidFill>
                <a:schemeClr val="accent1"/>
              </a:solidFill>
              <a:latin typeface="+mn-lt"/>
            </a:endParaRPr>
          </a:p>
          <a:p>
            <a:pPr marL="0" indent="0"/>
            <a:endParaRPr lang="da-DK" sz="1400" dirty="0">
              <a:solidFill>
                <a:schemeClr val="accent1"/>
              </a:solidFill>
              <a:latin typeface="+mn-lt"/>
            </a:endParaRPr>
          </a:p>
          <a:p>
            <a:pPr marL="0" indent="0"/>
            <a:r>
              <a:rPr lang="da-DK" sz="1400" dirty="0">
                <a:solidFill>
                  <a:schemeClr val="accent1"/>
                </a:solidFill>
                <a:latin typeface="+mn-lt"/>
              </a:rPr>
              <a:t>Results fell short of expectations</a:t>
            </a:r>
          </a:p>
          <a:p>
            <a:pPr marL="0" indent="0"/>
            <a:endParaRPr lang="da-DK" sz="1400" dirty="0">
              <a:solidFill>
                <a:schemeClr val="accent1"/>
              </a:solidFill>
              <a:latin typeface="+mn-lt"/>
            </a:endParaRPr>
          </a:p>
          <a:p>
            <a:pPr marL="0" indent="0"/>
            <a:r>
              <a:rPr lang="da-DK" sz="1400" dirty="0">
                <a:solidFill>
                  <a:schemeClr val="accent1"/>
                </a:solidFill>
                <a:latin typeface="+mn-lt"/>
              </a:rPr>
              <a:t>Macro and market headwinds</a:t>
            </a:r>
          </a:p>
          <a:p>
            <a:pPr marL="0" indent="0"/>
            <a:endParaRPr lang="da-DK" sz="1400" dirty="0">
              <a:solidFill>
                <a:schemeClr val="accent1"/>
              </a:solidFill>
              <a:latin typeface="+mn-lt"/>
            </a:endParaRPr>
          </a:p>
          <a:p>
            <a:pPr marL="0" indent="0"/>
            <a:r>
              <a:rPr lang="da-DK" sz="1400" dirty="0">
                <a:solidFill>
                  <a:schemeClr val="accent1"/>
                </a:solidFill>
                <a:latin typeface="+mn-lt"/>
              </a:rPr>
              <a:t>Underperforming units</a:t>
            </a:r>
          </a:p>
          <a:p>
            <a:pPr marL="0" indent="0"/>
            <a:endParaRPr lang="da-DK" sz="1400" dirty="0">
              <a:solidFill>
                <a:schemeClr val="accent1"/>
              </a:solidFill>
              <a:latin typeface="+mn-lt"/>
            </a:endParaRPr>
          </a:p>
          <a:p>
            <a:pPr marL="0" indent="0"/>
            <a:r>
              <a:rPr lang="da-DK" sz="1400" dirty="0">
                <a:solidFill>
                  <a:schemeClr val="accent1"/>
                </a:solidFill>
                <a:latin typeface="+mn-lt"/>
              </a:rPr>
              <a:t>Mediterranean competitor entry</a:t>
            </a:r>
          </a:p>
          <a:p>
            <a:pPr marL="0" indent="0"/>
            <a:endParaRPr lang="da-DK" sz="1400" dirty="0">
              <a:solidFill>
                <a:schemeClr val="accent1"/>
              </a:solidFill>
              <a:latin typeface="+mn-lt"/>
            </a:endParaRPr>
          </a:p>
          <a:p>
            <a:pPr marL="0" indent="0"/>
            <a:r>
              <a:rPr lang="da-DK" sz="1400" dirty="0">
                <a:solidFill>
                  <a:schemeClr val="accent1"/>
                </a:solidFill>
                <a:latin typeface="+mn-lt"/>
              </a:rPr>
              <a:t>Ekol International </a:t>
            </a:r>
            <a:r>
              <a:rPr lang="da-DK" sz="1400">
                <a:solidFill>
                  <a:schemeClr val="accent1"/>
                </a:solidFill>
                <a:latin typeface="+mn-lt"/>
              </a:rPr>
              <a:t>Transport turnaround</a:t>
            </a:r>
            <a:endParaRPr lang="da-DK" sz="1400" dirty="0">
              <a:solidFill>
                <a:schemeClr val="accent1"/>
              </a:solidFill>
              <a:highlight>
                <a:srgbClr val="FFFF00"/>
              </a:highlight>
              <a:latin typeface="+mn-lt"/>
            </a:endParaRPr>
          </a:p>
        </p:txBody>
      </p:sp>
      <p:sp>
        <p:nvSpPr>
          <p:cNvPr id="7" name="Content Placeholder 7">
            <a:extLst>
              <a:ext uri="{FF2B5EF4-FFF2-40B4-BE49-F238E27FC236}">
                <a16:creationId xmlns:a16="http://schemas.microsoft.com/office/drawing/2014/main" id="{EF98565A-9DC2-6443-9111-7F71B9CC0EB7}"/>
              </a:ext>
            </a:extLst>
          </p:cNvPr>
          <p:cNvSpPr txBox="1">
            <a:spLocks/>
          </p:cNvSpPr>
          <p:nvPr/>
        </p:nvSpPr>
        <p:spPr bwMode="auto">
          <a:xfrm>
            <a:off x="8159850" y="1655207"/>
            <a:ext cx="2595502" cy="3924300"/>
          </a:xfrm>
          <a:prstGeom prst="rect">
            <a:avLst/>
          </a:prstGeom>
          <a:solidFill>
            <a:schemeClr val="accent3"/>
          </a:solidFill>
          <a:ln>
            <a:noFill/>
          </a:ln>
        </p:spPr>
        <p:txBody>
          <a:bodyPr lIns="108000" tIns="72000" rIns="72000" bIns="0"/>
          <a:lstStyle>
            <a:defPPr>
              <a:defRPr lang="en-US"/>
            </a:defPPr>
            <a:lvl1pPr indent="0">
              <a:defRPr sz="1600" b="1">
                <a:latin typeface="DFDS Light" panose="00000400000000000000" pitchFamily="2" charset="0"/>
              </a:defRPr>
            </a:lvl1pPr>
            <a:lvl2pPr marL="742950" indent="-285750">
              <a:defRPr>
                <a:latin typeface="Arial" panose="020B0604020202020204" pitchFamily="34" charset="0"/>
              </a:defRPr>
            </a:lvl2pPr>
            <a:lvl3pPr marL="1143000" indent="-228600">
              <a:defRPr>
                <a:latin typeface="Arial" panose="020B0604020202020204" pitchFamily="34" charset="0"/>
              </a:defRPr>
            </a:lvl3pPr>
            <a:lvl4pPr marL="1600200" indent="-228600">
              <a:defRPr>
                <a:latin typeface="Arial" panose="020B0604020202020204" pitchFamily="34" charset="0"/>
              </a:defRPr>
            </a:lvl4pPr>
            <a:lvl5pPr marL="2057400" indent="-228600">
              <a:defRPr>
                <a:latin typeface="Arial" panose="020B0604020202020204" pitchFamily="34" charset="0"/>
              </a:defRPr>
            </a:lvl5pPr>
            <a:lvl6pPr marL="2514600" indent="-228600" eaLnBrk="0" fontAlgn="base" hangingPunct="0">
              <a:spcBef>
                <a:spcPct val="0"/>
              </a:spcBef>
              <a:spcAft>
                <a:spcPct val="0"/>
              </a:spcAft>
              <a:defRPr>
                <a:latin typeface="Arial" panose="020B0604020202020204" pitchFamily="34" charset="0"/>
              </a:defRPr>
            </a:lvl6pPr>
            <a:lvl7pPr marL="2971800" indent="-228600" eaLnBrk="0" fontAlgn="base" hangingPunct="0">
              <a:spcBef>
                <a:spcPct val="0"/>
              </a:spcBef>
              <a:spcAft>
                <a:spcPct val="0"/>
              </a:spcAft>
              <a:defRPr>
                <a:latin typeface="Arial" panose="020B0604020202020204" pitchFamily="34" charset="0"/>
              </a:defRPr>
            </a:lvl7pPr>
            <a:lvl8pPr marL="3429000" indent="-228600" eaLnBrk="0" fontAlgn="base" hangingPunct="0">
              <a:spcBef>
                <a:spcPct val="0"/>
              </a:spcBef>
              <a:spcAft>
                <a:spcPct val="0"/>
              </a:spcAft>
              <a:defRPr>
                <a:latin typeface="Arial" panose="020B0604020202020204" pitchFamily="34" charset="0"/>
              </a:defRPr>
            </a:lvl8pPr>
            <a:lvl9pPr marL="3886200" indent="-228600" eaLnBrk="0" fontAlgn="base" hangingPunct="0">
              <a:spcBef>
                <a:spcPct val="0"/>
              </a:spcBef>
              <a:spcAft>
                <a:spcPct val="0"/>
              </a:spcAft>
              <a:defRPr>
                <a:latin typeface="Arial" panose="020B0604020202020204" pitchFamily="34" charset="0"/>
              </a:defRPr>
            </a:lvl9pPr>
          </a:lstStyle>
          <a:p>
            <a:r>
              <a:rPr lang="da-DK" sz="1400" dirty="0">
                <a:solidFill>
                  <a:schemeClr val="bg1"/>
                </a:solidFill>
                <a:latin typeface="+mn-lt"/>
              </a:rPr>
              <a:t>2025 transition to recovery</a:t>
            </a:r>
          </a:p>
          <a:p>
            <a:endParaRPr lang="da-DK" sz="1400" b="0" dirty="0">
              <a:solidFill>
                <a:schemeClr val="bg1"/>
              </a:solidFill>
              <a:latin typeface="+mn-lt"/>
            </a:endParaRPr>
          </a:p>
          <a:p>
            <a:endParaRPr lang="da-DK" sz="1400" b="0" dirty="0">
              <a:solidFill>
                <a:schemeClr val="bg1"/>
              </a:solidFill>
              <a:latin typeface="+mn-lt"/>
            </a:endParaRPr>
          </a:p>
          <a:p>
            <a:r>
              <a:rPr lang="da-DK" sz="1400" b="0" dirty="0">
                <a:solidFill>
                  <a:schemeClr val="bg1"/>
                </a:solidFill>
                <a:latin typeface="+mn-lt"/>
              </a:rPr>
              <a:t>Financial ambitions no longer applicable</a:t>
            </a:r>
          </a:p>
          <a:p>
            <a:endParaRPr lang="da-DK" sz="1400" b="0" dirty="0">
              <a:solidFill>
                <a:schemeClr val="bg1"/>
              </a:solidFill>
              <a:latin typeface="+mn-lt"/>
            </a:endParaRPr>
          </a:p>
          <a:p>
            <a:r>
              <a:rPr lang="da-DK" sz="1400" b="0" dirty="0">
                <a:solidFill>
                  <a:schemeClr val="bg1"/>
                </a:solidFill>
                <a:latin typeface="+mn-lt"/>
              </a:rPr>
              <a:t>2025 a transition year for earnings recovery</a:t>
            </a:r>
          </a:p>
          <a:p>
            <a:endParaRPr lang="da-DK" sz="1400" b="0" dirty="0">
              <a:solidFill>
                <a:schemeClr val="bg1"/>
              </a:solidFill>
              <a:latin typeface="+mn-lt"/>
            </a:endParaRPr>
          </a:p>
          <a:p>
            <a:r>
              <a:rPr lang="da-DK" sz="1400" b="0" dirty="0">
                <a:solidFill>
                  <a:schemeClr val="bg1"/>
                </a:solidFill>
                <a:latin typeface="+mn-lt"/>
              </a:rPr>
              <a:t>Three specific focus areas to deliver recovery</a:t>
            </a:r>
          </a:p>
          <a:p>
            <a:endParaRPr lang="da-DK" sz="1400" b="0" dirty="0">
              <a:solidFill>
                <a:schemeClr val="bg1"/>
              </a:solidFill>
              <a:latin typeface="+mn-lt"/>
            </a:endParaRPr>
          </a:p>
          <a:p>
            <a:r>
              <a:rPr lang="da-DK" sz="1400" b="0" dirty="0">
                <a:solidFill>
                  <a:schemeClr val="bg1"/>
                </a:solidFill>
                <a:latin typeface="+mn-lt"/>
              </a:rPr>
              <a:t>2025 </a:t>
            </a:r>
            <a:r>
              <a:rPr lang="da-DK" sz="1400" b="0">
                <a:solidFill>
                  <a:schemeClr val="bg1"/>
                </a:solidFill>
                <a:latin typeface="+mn-lt"/>
              </a:rPr>
              <a:t>impacted by full-year </a:t>
            </a:r>
            <a:r>
              <a:rPr lang="da-DK" sz="1400" b="0" dirty="0">
                <a:solidFill>
                  <a:schemeClr val="bg1"/>
                </a:solidFill>
                <a:latin typeface="+mn-lt"/>
              </a:rPr>
              <a:t>effect from 2024 events</a:t>
            </a:r>
          </a:p>
        </p:txBody>
      </p:sp>
      <p:sp>
        <p:nvSpPr>
          <p:cNvPr id="10" name="Content Placeholder 7">
            <a:extLst>
              <a:ext uri="{FF2B5EF4-FFF2-40B4-BE49-F238E27FC236}">
                <a16:creationId xmlns:a16="http://schemas.microsoft.com/office/drawing/2014/main" id="{32B200B2-212E-3315-7325-A0AD1FD3735F}"/>
              </a:ext>
            </a:extLst>
          </p:cNvPr>
          <p:cNvSpPr txBox="1">
            <a:spLocks/>
          </p:cNvSpPr>
          <p:nvPr/>
        </p:nvSpPr>
        <p:spPr bwMode="auto">
          <a:xfrm>
            <a:off x="1476672" y="1655207"/>
            <a:ext cx="2555477" cy="3924300"/>
          </a:xfrm>
          <a:prstGeom prst="rect">
            <a:avLst/>
          </a:prstGeom>
          <a:solidFill>
            <a:schemeClr val="accent1"/>
          </a:solidFill>
          <a:ln>
            <a:noFill/>
          </a:ln>
        </p:spPr>
        <p:txBody>
          <a:bodyPr lIns="108000" tIns="72000" rIns="72000" bIns="0"/>
          <a:lstStyle>
            <a:defPPr>
              <a:defRPr lang="en-US"/>
            </a:defPPr>
            <a:lvl1pPr indent="0">
              <a:defRPr sz="1600" b="1">
                <a:latin typeface="DFDS Light" panose="00000400000000000000" pitchFamily="2" charset="0"/>
              </a:defRPr>
            </a:lvl1pPr>
            <a:lvl2pPr marL="742950" indent="-285750">
              <a:defRPr>
                <a:latin typeface="Arial" panose="020B0604020202020204" pitchFamily="34" charset="0"/>
              </a:defRPr>
            </a:lvl2pPr>
            <a:lvl3pPr marL="1143000" indent="-228600">
              <a:defRPr>
                <a:latin typeface="Arial" panose="020B0604020202020204" pitchFamily="34" charset="0"/>
              </a:defRPr>
            </a:lvl3pPr>
            <a:lvl4pPr marL="1600200" indent="-228600">
              <a:defRPr>
                <a:latin typeface="Arial" panose="020B0604020202020204" pitchFamily="34" charset="0"/>
              </a:defRPr>
            </a:lvl4pPr>
            <a:lvl5pPr marL="2057400" indent="-228600">
              <a:defRPr>
                <a:latin typeface="Arial" panose="020B0604020202020204" pitchFamily="34" charset="0"/>
              </a:defRPr>
            </a:lvl5pPr>
            <a:lvl6pPr marL="2514600" indent="-228600" eaLnBrk="0" fontAlgn="base" hangingPunct="0">
              <a:spcBef>
                <a:spcPct val="0"/>
              </a:spcBef>
              <a:spcAft>
                <a:spcPct val="0"/>
              </a:spcAft>
              <a:defRPr>
                <a:latin typeface="Arial" panose="020B0604020202020204" pitchFamily="34" charset="0"/>
              </a:defRPr>
            </a:lvl6pPr>
            <a:lvl7pPr marL="2971800" indent="-228600" eaLnBrk="0" fontAlgn="base" hangingPunct="0">
              <a:spcBef>
                <a:spcPct val="0"/>
              </a:spcBef>
              <a:spcAft>
                <a:spcPct val="0"/>
              </a:spcAft>
              <a:defRPr>
                <a:latin typeface="Arial" panose="020B0604020202020204" pitchFamily="34" charset="0"/>
              </a:defRPr>
            </a:lvl7pPr>
            <a:lvl8pPr marL="3429000" indent="-228600" eaLnBrk="0" fontAlgn="base" hangingPunct="0">
              <a:spcBef>
                <a:spcPct val="0"/>
              </a:spcBef>
              <a:spcAft>
                <a:spcPct val="0"/>
              </a:spcAft>
              <a:defRPr>
                <a:latin typeface="Arial" panose="020B0604020202020204" pitchFamily="34" charset="0"/>
              </a:defRPr>
            </a:lvl8pPr>
            <a:lvl9pPr marL="3886200" indent="-228600" eaLnBrk="0" fontAlgn="base" hangingPunct="0">
              <a:spcBef>
                <a:spcPct val="0"/>
              </a:spcBef>
              <a:spcAft>
                <a:spcPct val="0"/>
              </a:spcAft>
              <a:defRPr>
                <a:latin typeface="Arial" panose="020B0604020202020204" pitchFamily="34" charset="0"/>
              </a:defRPr>
            </a:lvl9pPr>
          </a:lstStyle>
          <a:p>
            <a:r>
              <a:rPr lang="da-DK" sz="1400">
                <a:solidFill>
                  <a:schemeClr val="bg1"/>
                </a:solidFill>
                <a:latin typeface="+mn-lt"/>
              </a:rPr>
              <a:t>Network strengthened and expanded </a:t>
            </a:r>
          </a:p>
          <a:p>
            <a:endParaRPr lang="da-DK" sz="1400" dirty="0">
              <a:solidFill>
                <a:schemeClr val="bg1"/>
              </a:solidFill>
              <a:latin typeface="+mn-lt"/>
            </a:endParaRPr>
          </a:p>
          <a:p>
            <a:endParaRPr lang="da-DK" sz="1400" b="0">
              <a:solidFill>
                <a:schemeClr val="bg1"/>
              </a:solidFill>
              <a:latin typeface="+mn-lt"/>
            </a:endParaRPr>
          </a:p>
          <a:p>
            <a:r>
              <a:rPr lang="da-DK" sz="1400" b="0">
                <a:solidFill>
                  <a:schemeClr val="bg1"/>
                </a:solidFill>
                <a:latin typeface="+mn-lt"/>
              </a:rPr>
              <a:t>Organic growth achieved</a:t>
            </a:r>
          </a:p>
          <a:p>
            <a:endParaRPr lang="da-DK" sz="1400" b="0">
              <a:solidFill>
                <a:schemeClr val="bg1"/>
              </a:solidFill>
              <a:latin typeface="+mn-lt"/>
            </a:endParaRPr>
          </a:p>
          <a:p>
            <a:r>
              <a:rPr lang="da-DK" sz="1400" b="0">
                <a:solidFill>
                  <a:schemeClr val="bg1"/>
                </a:solidFill>
                <a:latin typeface="+mn-lt"/>
              </a:rPr>
              <a:t>Strait of Gibraltar delivered</a:t>
            </a:r>
          </a:p>
          <a:p>
            <a:endParaRPr lang="da-DK" sz="1400" b="0">
              <a:solidFill>
                <a:schemeClr val="bg1"/>
              </a:solidFill>
              <a:latin typeface="+mn-lt"/>
            </a:endParaRPr>
          </a:p>
          <a:p>
            <a:r>
              <a:rPr lang="da-DK" sz="1400" b="0">
                <a:solidFill>
                  <a:schemeClr val="bg1"/>
                </a:solidFill>
                <a:latin typeface="+mn-lt"/>
              </a:rPr>
              <a:t>Ekol acquisition replicates model to Mediterranean</a:t>
            </a:r>
          </a:p>
          <a:p>
            <a:endParaRPr lang="da-DK" sz="1400" b="0">
              <a:solidFill>
                <a:schemeClr val="bg1"/>
              </a:solidFill>
              <a:latin typeface="+mn-lt"/>
            </a:endParaRPr>
          </a:p>
          <a:p>
            <a:r>
              <a:rPr lang="da-DK" sz="1400" b="0">
                <a:solidFill>
                  <a:schemeClr val="bg1"/>
                </a:solidFill>
                <a:latin typeface="+mn-lt"/>
              </a:rPr>
              <a:t>Jersey ferry services concession awarded</a:t>
            </a:r>
          </a:p>
          <a:p>
            <a:endParaRPr lang="da-DK" sz="1400" b="0">
              <a:solidFill>
                <a:schemeClr val="bg1"/>
              </a:solidFill>
              <a:latin typeface="+mn-lt"/>
            </a:endParaRPr>
          </a:p>
          <a:p>
            <a:r>
              <a:rPr lang="da-DK" sz="1400" b="0">
                <a:solidFill>
                  <a:schemeClr val="bg1"/>
                </a:solidFill>
                <a:latin typeface="+mn-lt"/>
              </a:rPr>
              <a:t>Sale of Oslo route completed</a:t>
            </a:r>
          </a:p>
        </p:txBody>
      </p:sp>
      <p:sp>
        <p:nvSpPr>
          <p:cNvPr id="12" name="Isosceles Triangle 11">
            <a:extLst>
              <a:ext uri="{FF2B5EF4-FFF2-40B4-BE49-F238E27FC236}">
                <a16:creationId xmlns:a16="http://schemas.microsoft.com/office/drawing/2014/main" id="{1052BE78-7625-EFF2-A77D-A5BA102F6EA6}"/>
              </a:ext>
            </a:extLst>
          </p:cNvPr>
          <p:cNvSpPr/>
          <p:nvPr/>
        </p:nvSpPr>
        <p:spPr>
          <a:xfrm rot="5400000">
            <a:off x="4026384" y="3300294"/>
            <a:ext cx="879763" cy="209458"/>
          </a:xfrm>
          <a:prstGeom prst="triangle">
            <a:avLst>
              <a:gd name="adj" fmla="val 53150"/>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Bef>
                <a:spcPts val="300"/>
              </a:spcBef>
              <a:spcAft>
                <a:spcPts val="300"/>
              </a:spcAft>
            </a:pPr>
            <a:endParaRPr lang="da-DK">
              <a:solidFill>
                <a:schemeClr val="bg1"/>
              </a:solidFill>
            </a:endParaRPr>
          </a:p>
        </p:txBody>
      </p:sp>
      <p:sp>
        <p:nvSpPr>
          <p:cNvPr id="14" name="Isosceles Triangle 13">
            <a:extLst>
              <a:ext uri="{FF2B5EF4-FFF2-40B4-BE49-F238E27FC236}">
                <a16:creationId xmlns:a16="http://schemas.microsoft.com/office/drawing/2014/main" id="{031A567E-1DC4-02F1-847F-23FF6F83058D}"/>
              </a:ext>
            </a:extLst>
          </p:cNvPr>
          <p:cNvSpPr/>
          <p:nvPr/>
        </p:nvSpPr>
        <p:spPr>
          <a:xfrm rot="5400000">
            <a:off x="7285851" y="3300294"/>
            <a:ext cx="879763" cy="209458"/>
          </a:xfrm>
          <a:prstGeom prst="triangle">
            <a:avLst>
              <a:gd name="adj" fmla="val 53150"/>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Bef>
                <a:spcPts val="300"/>
              </a:spcBef>
              <a:spcAft>
                <a:spcPts val="300"/>
              </a:spcAft>
            </a:pPr>
            <a:endParaRPr lang="da-DK">
              <a:solidFill>
                <a:schemeClr val="bg1"/>
              </a:solidFill>
            </a:endParaRPr>
          </a:p>
        </p:txBody>
      </p:sp>
      <p:sp>
        <p:nvSpPr>
          <p:cNvPr id="3" name="Slide Number Placeholder 1">
            <a:extLst>
              <a:ext uri="{FF2B5EF4-FFF2-40B4-BE49-F238E27FC236}">
                <a16:creationId xmlns:a16="http://schemas.microsoft.com/office/drawing/2014/main" id="{8A9708FC-BD2B-25E9-F614-2EE0F65C2419}"/>
              </a:ext>
            </a:extLst>
          </p:cNvPr>
          <p:cNvSpPr txBox="1">
            <a:spLocks/>
          </p:cNvSpPr>
          <p:nvPr/>
        </p:nvSpPr>
        <p:spPr>
          <a:xfrm>
            <a:off x="269875" y="6422440"/>
            <a:ext cx="269875" cy="1800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6BB336-FA68-49FA-BBEA-E8420972406D}" type="slidenum">
              <a:rPr lang="en-GB" sz="800" smtClean="0"/>
              <a:pPr/>
              <a:t>4</a:t>
            </a:fld>
            <a:endParaRPr lang="en-GB" sz="800"/>
          </a:p>
        </p:txBody>
      </p:sp>
    </p:spTree>
    <p:extLst>
      <p:ext uri="{BB962C8B-B14F-4D97-AF65-F5344CB8AC3E}">
        <p14:creationId xmlns:p14="http://schemas.microsoft.com/office/powerpoint/2010/main" val="23279053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80F893-D7D7-64FE-B203-A1308C573CDE}"/>
            </a:ext>
          </a:extLst>
        </p:cNvPr>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F979A35-6613-2052-EDC5-D4D3A7CA68C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8" imgH="278" progId="TCLayout.ActiveDocument.1">
                  <p:embed/>
                </p:oleObj>
              </mc:Choice>
              <mc:Fallback>
                <p:oleObj name="think-cell Slide" r:id="rId4" imgW="278" imgH="278" progId="TCLayout.ActiveDocument.1">
                  <p:embed/>
                  <p:pic>
                    <p:nvPicPr>
                      <p:cNvPr id="5" name="Object 4" hidden="1">
                        <a:extLst>
                          <a:ext uri="{FF2B5EF4-FFF2-40B4-BE49-F238E27FC236}">
                            <a16:creationId xmlns:a16="http://schemas.microsoft.com/office/drawing/2014/main" id="{1C8EB46E-754D-4239-8498-640983F9545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4DA54D37-12E4-C901-21F9-6B79265BC9F2}"/>
              </a:ext>
            </a:extLst>
          </p:cNvPr>
          <p:cNvSpPr/>
          <p:nvPr>
            <p:custDataLst>
              <p:tags r:id="rId2"/>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da-DK" sz="2400">
              <a:solidFill>
                <a:schemeClr val="bg1"/>
              </a:solidFill>
              <a:latin typeface="DFDS Bold" panose="00000800000000000000" pitchFamily="2" charset="0"/>
              <a:ea typeface="+mj-ea"/>
              <a:cs typeface="+mj-cs"/>
              <a:sym typeface="DFDS Bold" panose="00000800000000000000" pitchFamily="2" charset="0"/>
            </a:endParaRPr>
          </a:p>
        </p:txBody>
      </p:sp>
      <p:sp>
        <p:nvSpPr>
          <p:cNvPr id="3" name="Slide Number Placeholder 2">
            <a:extLst>
              <a:ext uri="{FF2B5EF4-FFF2-40B4-BE49-F238E27FC236}">
                <a16:creationId xmlns:a16="http://schemas.microsoft.com/office/drawing/2014/main" id="{8D44916B-DD72-E1BD-89BD-3F3B5017E525}"/>
              </a:ext>
            </a:extLst>
          </p:cNvPr>
          <p:cNvSpPr>
            <a:spLocks noGrp="1"/>
          </p:cNvSpPr>
          <p:nvPr>
            <p:ph type="sldNum" sz="quarter" idx="17"/>
          </p:nvPr>
        </p:nvSpPr>
        <p:spPr/>
        <p:txBody>
          <a:bodyPr/>
          <a:lstStyle/>
          <a:p>
            <a:fld id="{23AA811B-2EBD-4900-905E-5BE206449611}" type="slidenum">
              <a:rPr lang="en-GB" smtClean="0"/>
              <a:pPr/>
              <a:t>5</a:t>
            </a:fld>
            <a:endParaRPr lang="en-GB"/>
          </a:p>
        </p:txBody>
      </p:sp>
      <p:sp>
        <p:nvSpPr>
          <p:cNvPr id="39" name="Rectangle 4">
            <a:extLst>
              <a:ext uri="{FF2B5EF4-FFF2-40B4-BE49-F238E27FC236}">
                <a16:creationId xmlns:a16="http://schemas.microsoft.com/office/drawing/2014/main" id="{95C9BE14-2FFE-08AA-009A-044D6ACAE9D9}"/>
              </a:ext>
            </a:extLst>
          </p:cNvPr>
          <p:cNvSpPr>
            <a:spLocks noGrp="1" noChangeArrowheads="1"/>
          </p:cNvSpPr>
          <p:nvPr>
            <p:ph type="ctrTitle"/>
          </p:nvPr>
        </p:nvSpPr>
        <p:spPr>
          <a:xfrm>
            <a:off x="269876" y="356275"/>
            <a:ext cx="4749799" cy="1416050"/>
          </a:xfrm>
        </p:spPr>
        <p:txBody>
          <a:bodyPr vert="horz" wrap="square" lIns="0" tIns="0" rIns="0" bIns="0" rtlCol="0" anchor="ctr">
            <a:noAutofit/>
          </a:bodyPr>
          <a:lstStyle/>
          <a:p>
            <a:r>
              <a:rPr lang="da-DK"/>
              <a:t>Q4 2024</a:t>
            </a:r>
            <a:endParaRPr lang="en-US"/>
          </a:p>
        </p:txBody>
      </p:sp>
      <p:sp>
        <p:nvSpPr>
          <p:cNvPr id="41" name="TextBox 8">
            <a:extLst>
              <a:ext uri="{FF2B5EF4-FFF2-40B4-BE49-F238E27FC236}">
                <a16:creationId xmlns:a16="http://schemas.microsoft.com/office/drawing/2014/main" id="{8665C149-A2B9-7931-7BA7-E6BEB4FF6D08}"/>
              </a:ext>
            </a:extLst>
          </p:cNvPr>
          <p:cNvSpPr txBox="1">
            <a:spLocks noChangeArrowheads="1"/>
          </p:cNvSpPr>
          <p:nvPr/>
        </p:nvSpPr>
        <p:spPr bwMode="auto">
          <a:xfrm>
            <a:off x="11501438" y="1285875"/>
            <a:ext cx="1847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atin typeface="DFDS Light" panose="02000300000000020000" pitchFamily="2" charset="0"/>
            </a:endParaRPr>
          </a:p>
        </p:txBody>
      </p:sp>
      <p:sp>
        <p:nvSpPr>
          <p:cNvPr id="7" name="Subtitle 6">
            <a:extLst>
              <a:ext uri="{FF2B5EF4-FFF2-40B4-BE49-F238E27FC236}">
                <a16:creationId xmlns:a16="http://schemas.microsoft.com/office/drawing/2014/main" id="{61AD6F91-4FC7-55DA-7467-0AC245CDC35A}"/>
              </a:ext>
            </a:extLst>
          </p:cNvPr>
          <p:cNvSpPr>
            <a:spLocks noGrp="1"/>
          </p:cNvSpPr>
          <p:nvPr>
            <p:ph type="subTitle" idx="1"/>
          </p:nvPr>
        </p:nvSpPr>
        <p:spPr/>
        <p:txBody>
          <a:bodyPr/>
          <a:lstStyle/>
          <a:p>
            <a:endParaRPr lang="da-DK"/>
          </a:p>
        </p:txBody>
      </p:sp>
      <p:sp>
        <p:nvSpPr>
          <p:cNvPr id="2" name="Slide Number Placeholder 1">
            <a:extLst>
              <a:ext uri="{FF2B5EF4-FFF2-40B4-BE49-F238E27FC236}">
                <a16:creationId xmlns:a16="http://schemas.microsoft.com/office/drawing/2014/main" id="{8EB5D14A-CB57-0B9C-92EF-727E8E7F8254}"/>
              </a:ext>
            </a:extLst>
          </p:cNvPr>
          <p:cNvSpPr txBox="1">
            <a:spLocks/>
          </p:cNvSpPr>
          <p:nvPr/>
        </p:nvSpPr>
        <p:spPr>
          <a:xfrm>
            <a:off x="269875" y="6431279"/>
            <a:ext cx="269875" cy="1800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6BB336-FA68-49FA-BBEA-E8420972406D}" type="slidenum">
              <a:rPr lang="en-GB" sz="800" smtClean="0"/>
              <a:pPr/>
              <a:t>5</a:t>
            </a:fld>
            <a:endParaRPr lang="en-GB" sz="800"/>
          </a:p>
        </p:txBody>
      </p:sp>
    </p:spTree>
    <p:extLst>
      <p:ext uri="{BB962C8B-B14F-4D97-AF65-F5344CB8AC3E}">
        <p14:creationId xmlns:p14="http://schemas.microsoft.com/office/powerpoint/2010/main" val="27088806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C8EB46E-754D-4239-8498-640983F9545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8" imgH="278" progId="TCLayout.ActiveDocument.1">
                  <p:embed/>
                </p:oleObj>
              </mc:Choice>
              <mc:Fallback>
                <p:oleObj name="think-cell Slide" r:id="rId4" imgW="278" imgH="278" progId="TCLayout.ActiveDocument.1">
                  <p:embed/>
                  <p:pic>
                    <p:nvPicPr>
                      <p:cNvPr id="5" name="Object 4" hidden="1">
                        <a:extLst>
                          <a:ext uri="{FF2B5EF4-FFF2-40B4-BE49-F238E27FC236}">
                            <a16:creationId xmlns:a16="http://schemas.microsoft.com/office/drawing/2014/main" id="{1C8EB46E-754D-4239-8498-640983F9545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0D5AF93A-54B4-41D8-B519-B05CA4715B2E}"/>
              </a:ext>
            </a:extLst>
          </p:cNvPr>
          <p:cNvSpPr/>
          <p:nvPr>
            <p:custDataLst>
              <p:tags r:id="rId2"/>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da-DK" sz="2400" dirty="0">
              <a:solidFill>
                <a:schemeClr val="bg1"/>
              </a:solidFill>
              <a:latin typeface="DFDS Bold" panose="00000800000000000000" pitchFamily="2" charset="0"/>
              <a:ea typeface="+mj-ea"/>
              <a:cs typeface="+mj-cs"/>
              <a:sym typeface="DFDS Bold" panose="00000800000000000000" pitchFamily="2" charset="0"/>
            </a:endParaRPr>
          </a:p>
        </p:txBody>
      </p:sp>
      <p:sp>
        <p:nvSpPr>
          <p:cNvPr id="16" name="Rectangle 4">
            <a:extLst>
              <a:ext uri="{FF2B5EF4-FFF2-40B4-BE49-F238E27FC236}">
                <a16:creationId xmlns:a16="http://schemas.microsoft.com/office/drawing/2014/main" id="{C3AB49D5-AA73-44EE-BEEE-9106EAB628A7}"/>
              </a:ext>
            </a:extLst>
          </p:cNvPr>
          <p:cNvSpPr>
            <a:spLocks noGrp="1" noChangeArrowheads="1"/>
          </p:cNvSpPr>
          <p:nvPr>
            <p:ph type="title"/>
          </p:nvPr>
        </p:nvSpPr>
        <p:spPr>
          <a:xfrm>
            <a:off x="281131" y="276855"/>
            <a:ext cx="5739322" cy="930275"/>
          </a:xfrm>
        </p:spPr>
        <p:txBody>
          <a:bodyPr vert="horz" wrap="square" lIns="0" tIns="0" rIns="0" bIns="0" rtlCol="0" anchor="t">
            <a:noAutofit/>
          </a:bodyPr>
          <a:lstStyle/>
          <a:p>
            <a:r>
              <a:rPr lang="da-DK" sz="3200"/>
              <a:t>5% revenue growth in Q4</a:t>
            </a:r>
            <a:endParaRPr lang="en-US" sz="3200" dirty="0"/>
          </a:p>
        </p:txBody>
      </p:sp>
      <p:sp>
        <p:nvSpPr>
          <p:cNvPr id="8" name="Picture Placeholder 7">
            <a:extLst>
              <a:ext uri="{FF2B5EF4-FFF2-40B4-BE49-F238E27FC236}">
                <a16:creationId xmlns:a16="http://schemas.microsoft.com/office/drawing/2014/main" id="{E0D9EDB8-5EA6-AD95-29AF-D47BAD6D97E8}"/>
              </a:ext>
            </a:extLst>
          </p:cNvPr>
          <p:cNvSpPr>
            <a:spLocks noGrp="1"/>
          </p:cNvSpPr>
          <p:nvPr>
            <p:ph type="pic" sz="quarter" idx="18"/>
          </p:nvPr>
        </p:nvSpPr>
        <p:spPr/>
        <p:txBody>
          <a:bodyPr/>
          <a:lstStyle/>
          <a:p>
            <a:endParaRPr lang="da-DK" dirty="0"/>
          </a:p>
        </p:txBody>
      </p:sp>
      <p:sp>
        <p:nvSpPr>
          <p:cNvPr id="17" name="TextBox 8">
            <a:extLst>
              <a:ext uri="{FF2B5EF4-FFF2-40B4-BE49-F238E27FC236}">
                <a16:creationId xmlns:a16="http://schemas.microsoft.com/office/drawing/2014/main" id="{2D2617CA-DFEC-4135-85C4-115D3B1A59B8}"/>
              </a:ext>
            </a:extLst>
          </p:cNvPr>
          <p:cNvSpPr txBox="1">
            <a:spLocks noChangeArrowheads="1"/>
          </p:cNvSpPr>
          <p:nvPr/>
        </p:nvSpPr>
        <p:spPr bwMode="auto">
          <a:xfrm>
            <a:off x="11510963" y="1285875"/>
            <a:ext cx="1847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atin typeface="DFDS Light" panose="02000300000000020000" pitchFamily="2" charset="0"/>
            </a:endParaRPr>
          </a:p>
        </p:txBody>
      </p:sp>
      <p:sp>
        <p:nvSpPr>
          <p:cNvPr id="4" name="Slide Number Placeholder 1">
            <a:extLst>
              <a:ext uri="{FF2B5EF4-FFF2-40B4-BE49-F238E27FC236}">
                <a16:creationId xmlns:a16="http://schemas.microsoft.com/office/drawing/2014/main" id="{BF8B562C-B7F6-A7E1-AE97-B0F816C21C76}"/>
              </a:ext>
            </a:extLst>
          </p:cNvPr>
          <p:cNvSpPr txBox="1">
            <a:spLocks/>
          </p:cNvSpPr>
          <p:nvPr/>
        </p:nvSpPr>
        <p:spPr>
          <a:xfrm>
            <a:off x="234975" y="6431279"/>
            <a:ext cx="323438" cy="1800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6BB336-FA68-49FA-BBEA-E8420972406D}" type="slidenum">
              <a:rPr lang="en-GB" sz="800" smtClean="0"/>
              <a:pPr/>
              <a:t>6</a:t>
            </a:fld>
            <a:endParaRPr lang="en-GB" sz="800"/>
          </a:p>
        </p:txBody>
      </p:sp>
      <p:sp>
        <p:nvSpPr>
          <p:cNvPr id="9" name="Content Placeholder 7">
            <a:extLst>
              <a:ext uri="{FF2B5EF4-FFF2-40B4-BE49-F238E27FC236}">
                <a16:creationId xmlns:a16="http://schemas.microsoft.com/office/drawing/2014/main" id="{A515D6B3-64CA-06C2-F771-AEF57267D5EF}"/>
              </a:ext>
            </a:extLst>
          </p:cNvPr>
          <p:cNvSpPr txBox="1">
            <a:spLocks/>
          </p:cNvSpPr>
          <p:nvPr/>
        </p:nvSpPr>
        <p:spPr bwMode="auto">
          <a:xfrm>
            <a:off x="281131" y="1994955"/>
            <a:ext cx="4385967" cy="392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80975" indent="-180975">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buFont typeface="Arial" panose="020B0604020202020204" pitchFamily="34" charset="0"/>
              <a:buChar char="•"/>
            </a:pPr>
            <a:r>
              <a:rPr lang="en-US" sz="1800" b="1">
                <a:latin typeface="DFDS Sans Offc" panose="00000500000000000000" pitchFamily="2" charset="0"/>
              </a:rPr>
              <a:t>Freight ferry</a:t>
            </a:r>
            <a:r>
              <a:rPr lang="en-US" sz="1800">
                <a:latin typeface="DFDS Sans Offc" panose="00000500000000000000" pitchFamily="2" charset="0"/>
              </a:rPr>
              <a:t> organic* </a:t>
            </a:r>
            <a:r>
              <a:rPr lang="en-US" sz="1800" dirty="0">
                <a:latin typeface="DFDS Sans Offc" panose="00000500000000000000" pitchFamily="2" charset="0"/>
              </a:rPr>
              <a:t>revenue </a:t>
            </a:r>
            <a:r>
              <a:rPr lang="en-US" sz="1800">
                <a:latin typeface="DFDS Sans Offc" panose="00000500000000000000" pitchFamily="2" charset="0"/>
              </a:rPr>
              <a:t>down 1.4% </a:t>
            </a:r>
            <a:r>
              <a:rPr lang="en-US" sz="1800" dirty="0">
                <a:latin typeface="DFDS Sans Offc" panose="00000500000000000000" pitchFamily="2" charset="0"/>
              </a:rPr>
              <a:t>due to lower freight rates</a:t>
            </a:r>
            <a:endParaRPr lang="en-US" sz="1800" dirty="0">
              <a:highlight>
                <a:srgbClr val="FFFF00"/>
              </a:highlight>
              <a:latin typeface="DFDS Sans Offc" panose="00000500000000000000" pitchFamily="2" charset="0"/>
            </a:endParaRPr>
          </a:p>
          <a:p>
            <a:pPr>
              <a:buFont typeface="Arial" panose="020B0604020202020204" pitchFamily="34" charset="0"/>
              <a:buChar char="•"/>
            </a:pPr>
            <a:endParaRPr lang="en-US" b="1" dirty="0">
              <a:latin typeface="DFDS Sans Offc" panose="00000500000000000000" pitchFamily="2" charset="0"/>
            </a:endParaRPr>
          </a:p>
          <a:p>
            <a:pPr>
              <a:buFont typeface="Arial" panose="020B0604020202020204" pitchFamily="34" charset="0"/>
              <a:buChar char="•"/>
            </a:pPr>
            <a:r>
              <a:rPr lang="en-US" sz="1800" b="1">
                <a:latin typeface="DFDS Sans Offc" panose="00000500000000000000" pitchFamily="2" charset="0"/>
              </a:rPr>
              <a:t>Passenger</a:t>
            </a:r>
            <a:r>
              <a:rPr lang="en-US" sz="1800">
                <a:latin typeface="DFDS Sans Offc" panose="00000500000000000000" pitchFamily="2" charset="0"/>
              </a:rPr>
              <a:t> organic </a:t>
            </a:r>
            <a:r>
              <a:rPr lang="en-US" sz="1800" dirty="0">
                <a:latin typeface="DFDS Sans Offc" panose="00000500000000000000" pitchFamily="2" charset="0"/>
              </a:rPr>
              <a:t>revenue up 1.2% as Channel growth was offset by lower Baltic Sea revenue </a:t>
            </a:r>
          </a:p>
          <a:p>
            <a:pPr>
              <a:buFont typeface="Arial" panose="020B0604020202020204" pitchFamily="34" charset="0"/>
              <a:buChar char="•"/>
            </a:pPr>
            <a:endParaRPr lang="en-US" sz="1800" dirty="0">
              <a:latin typeface="DFDS Sans Offc" panose="00000500000000000000" pitchFamily="2" charset="0"/>
            </a:endParaRPr>
          </a:p>
          <a:p>
            <a:pPr eaLnBrk="1" hangingPunct="1">
              <a:buFont typeface="Arial" panose="020B0604020202020204" pitchFamily="34" charset="0"/>
              <a:buChar char="•"/>
            </a:pPr>
            <a:r>
              <a:rPr lang="en-US" sz="1800" b="1" dirty="0">
                <a:latin typeface="DFDS Sans Offc" panose="00000500000000000000" pitchFamily="2" charset="0"/>
              </a:rPr>
              <a:t>Logistics</a:t>
            </a:r>
            <a:r>
              <a:rPr lang="en-US" sz="1800" dirty="0">
                <a:latin typeface="DFDS Sans Offc" panose="00000500000000000000" pitchFamily="2" charset="0"/>
              </a:rPr>
              <a:t> organic revenue up 4.6% driven mainly by UK &amp; Ireland</a:t>
            </a:r>
          </a:p>
          <a:p>
            <a:pPr eaLnBrk="1" hangingPunct="1">
              <a:buFont typeface="Arial" panose="020B0604020202020204" pitchFamily="34" charset="0"/>
              <a:buChar char="•"/>
            </a:pPr>
            <a:endParaRPr lang="en-US" sz="1800" dirty="0">
              <a:latin typeface="DFDS Sans Offc" panose="00000500000000000000" pitchFamily="2" charset="0"/>
            </a:endParaRPr>
          </a:p>
          <a:p>
            <a:pPr>
              <a:buFont typeface="Arial" panose="020B0604020202020204" pitchFamily="34" charset="0"/>
              <a:buChar char="•"/>
            </a:pPr>
            <a:r>
              <a:rPr lang="en-US" sz="1800" b="1" dirty="0">
                <a:latin typeface="DFDS Sans Offc" panose="00000500000000000000" pitchFamily="2" charset="0"/>
              </a:rPr>
              <a:t>Acquisitions, net</a:t>
            </a:r>
            <a:r>
              <a:rPr lang="en-US" sz="1800" dirty="0">
                <a:latin typeface="DFDS Sans Offc" panose="00000500000000000000" pitchFamily="2" charset="0"/>
              </a:rPr>
              <a:t> added revenue of</a:t>
            </a:r>
            <a:br>
              <a:rPr lang="en-US" sz="1800" dirty="0">
                <a:latin typeface="DFDS Sans Offc" panose="00000500000000000000" pitchFamily="2" charset="0"/>
              </a:rPr>
            </a:br>
            <a:r>
              <a:rPr lang="en-US" sz="1800" dirty="0">
                <a:latin typeface="DFDS Sans Offc" panose="00000500000000000000" pitchFamily="2" charset="0"/>
              </a:rPr>
              <a:t>DKK 509m</a:t>
            </a:r>
          </a:p>
        </p:txBody>
      </p:sp>
      <p:sp>
        <p:nvSpPr>
          <p:cNvPr id="10" name="TextBox 9">
            <a:extLst>
              <a:ext uri="{FF2B5EF4-FFF2-40B4-BE49-F238E27FC236}">
                <a16:creationId xmlns:a16="http://schemas.microsoft.com/office/drawing/2014/main" id="{A59132AB-52C6-61AC-F96D-8E75133209A6}"/>
              </a:ext>
            </a:extLst>
          </p:cNvPr>
          <p:cNvSpPr txBox="1"/>
          <p:nvPr/>
        </p:nvSpPr>
        <p:spPr>
          <a:xfrm>
            <a:off x="936984" y="6479826"/>
            <a:ext cx="829353" cy="1504151"/>
          </a:xfrm>
          <a:prstGeom prst="rect">
            <a:avLst/>
          </a:prstGeom>
          <a:noFill/>
        </p:spPr>
        <p:txBody>
          <a:bodyPr wrap="none" lIns="0" tIns="0" rIns="0" bIns="0" rtlCol="0">
            <a:noAutofit/>
          </a:bodyPr>
          <a:lstStyle/>
          <a:p>
            <a:r>
              <a:rPr lang="en-GB" sz="726"/>
              <a:t>*Adjusted for BAF/ETS, acquisitions, and 2023 one-off releases impacting revenue</a:t>
            </a:r>
          </a:p>
        </p:txBody>
      </p:sp>
      <p:graphicFrame>
        <p:nvGraphicFramePr>
          <p:cNvPr id="3" name="Chart 2">
            <a:extLst>
              <a:ext uri="{FF2B5EF4-FFF2-40B4-BE49-F238E27FC236}">
                <a16:creationId xmlns:a16="http://schemas.microsoft.com/office/drawing/2014/main" id="{F4DFDFE7-1E76-44B7-A6B2-355AEC5BA8C7}"/>
              </a:ext>
            </a:extLst>
          </p:cNvPr>
          <p:cNvGraphicFramePr>
            <a:graphicFrameLocks/>
          </p:cNvGraphicFramePr>
          <p:nvPr>
            <p:extLst>
              <p:ext uri="{D42A27DB-BD31-4B8C-83A1-F6EECF244321}">
                <p14:modId xmlns:p14="http://schemas.microsoft.com/office/powerpoint/2010/main" val="506951059"/>
              </p:ext>
            </p:extLst>
          </p:nvPr>
        </p:nvGraphicFramePr>
        <p:xfrm>
          <a:off x="6445561" y="543524"/>
          <a:ext cx="5652474" cy="6043014"/>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56092361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Picture Placeholder 21">
            <a:extLst>
              <a:ext uri="{FF2B5EF4-FFF2-40B4-BE49-F238E27FC236}">
                <a16:creationId xmlns:a16="http://schemas.microsoft.com/office/drawing/2014/main" id="{AC2AB1E4-8CA9-D74D-E1B7-BB4B5655039C}"/>
              </a:ext>
            </a:extLst>
          </p:cNvPr>
          <p:cNvSpPr>
            <a:spLocks noGrp="1"/>
          </p:cNvSpPr>
          <p:nvPr>
            <p:ph type="pic" sz="quarter" idx="18"/>
          </p:nvPr>
        </p:nvSpPr>
        <p:spPr/>
        <p:txBody>
          <a:bodyPr/>
          <a:lstStyle/>
          <a:p>
            <a:endParaRPr lang="da-DK"/>
          </a:p>
        </p:txBody>
      </p:sp>
      <p:graphicFrame>
        <p:nvGraphicFramePr>
          <p:cNvPr id="5" name="Object 4" hidden="1">
            <a:extLst>
              <a:ext uri="{FF2B5EF4-FFF2-40B4-BE49-F238E27FC236}">
                <a16:creationId xmlns:a16="http://schemas.microsoft.com/office/drawing/2014/main" id="{1C8EB46E-754D-4239-8498-640983F9545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8" imgH="278" progId="TCLayout.ActiveDocument.1">
                  <p:embed/>
                </p:oleObj>
              </mc:Choice>
              <mc:Fallback>
                <p:oleObj name="think-cell Slide" r:id="rId4" imgW="278" imgH="278" progId="TCLayout.ActiveDocument.1">
                  <p:embed/>
                  <p:pic>
                    <p:nvPicPr>
                      <p:cNvPr id="5" name="Object 4" hidden="1">
                        <a:extLst>
                          <a:ext uri="{FF2B5EF4-FFF2-40B4-BE49-F238E27FC236}">
                            <a16:creationId xmlns:a16="http://schemas.microsoft.com/office/drawing/2014/main" id="{1C8EB46E-754D-4239-8498-640983F9545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0D5AF93A-54B4-41D8-B519-B05CA4715B2E}"/>
              </a:ext>
            </a:extLst>
          </p:cNvPr>
          <p:cNvSpPr/>
          <p:nvPr>
            <p:custDataLst>
              <p:tags r:id="rId2"/>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da-DK" sz="2400" dirty="0">
              <a:solidFill>
                <a:schemeClr val="bg1"/>
              </a:solidFill>
              <a:latin typeface="DFDS Bold" panose="00000800000000000000" pitchFamily="2" charset="0"/>
              <a:ea typeface="+mj-ea"/>
              <a:cs typeface="+mj-cs"/>
              <a:sym typeface="DFDS Bold" panose="00000800000000000000" pitchFamily="2" charset="0"/>
            </a:endParaRPr>
          </a:p>
        </p:txBody>
      </p:sp>
      <p:sp>
        <p:nvSpPr>
          <p:cNvPr id="8" name="Rectangle 4">
            <a:extLst>
              <a:ext uri="{FF2B5EF4-FFF2-40B4-BE49-F238E27FC236}">
                <a16:creationId xmlns:a16="http://schemas.microsoft.com/office/drawing/2014/main" id="{E9DCDFF9-0505-46AD-9040-404D539E870F}"/>
              </a:ext>
            </a:extLst>
          </p:cNvPr>
          <p:cNvSpPr txBox="1">
            <a:spLocks noChangeArrowheads="1"/>
          </p:cNvSpPr>
          <p:nvPr/>
        </p:nvSpPr>
        <p:spPr>
          <a:xfrm>
            <a:off x="278505" y="277428"/>
            <a:ext cx="5726394" cy="785812"/>
          </a:xfrm>
          <a:prstGeom prst="rect">
            <a:avLst/>
          </a:prstGeom>
        </p:spPr>
        <p:txBody>
          <a:bodyPr vert="horz" wrap="square" lIns="0" tIns="0" rIns="0" bIns="0" rtlCol="0" anchor="t">
            <a:noAutofit/>
          </a:bodyPr>
          <a:lstStyle>
            <a:lvl1pPr>
              <a:lnSpc>
                <a:spcPct val="90000"/>
              </a:lnSpc>
              <a:spcBef>
                <a:spcPct val="0"/>
              </a:spcBef>
              <a:buNone/>
              <a:defRPr sz="2800">
                <a:solidFill>
                  <a:schemeClr val="accent1"/>
                </a:solidFill>
                <a:latin typeface="+mj-lt"/>
                <a:ea typeface="+mj-ea"/>
                <a:cs typeface="+mj-cs"/>
              </a:defRPr>
            </a:lvl1pPr>
          </a:lstStyle>
          <a:p>
            <a:r>
              <a:rPr lang="da-DK" sz="3200"/>
              <a:t>EBIT reduced considerably</a:t>
            </a:r>
            <a:endParaRPr lang="en-US" sz="3200" dirty="0"/>
          </a:p>
        </p:txBody>
      </p:sp>
      <p:sp>
        <p:nvSpPr>
          <p:cNvPr id="10" name="TextBox 8">
            <a:extLst>
              <a:ext uri="{FF2B5EF4-FFF2-40B4-BE49-F238E27FC236}">
                <a16:creationId xmlns:a16="http://schemas.microsoft.com/office/drawing/2014/main" id="{4936B451-85E7-4862-8AF1-E9523E4E3486}"/>
              </a:ext>
            </a:extLst>
          </p:cNvPr>
          <p:cNvSpPr txBox="1">
            <a:spLocks noChangeArrowheads="1"/>
          </p:cNvSpPr>
          <p:nvPr/>
        </p:nvSpPr>
        <p:spPr bwMode="auto">
          <a:xfrm>
            <a:off x="11501438" y="1285875"/>
            <a:ext cx="1847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atin typeface="DFDS Light" panose="02000300000000020000" pitchFamily="2" charset="0"/>
            </a:endParaRPr>
          </a:p>
        </p:txBody>
      </p:sp>
      <p:sp>
        <p:nvSpPr>
          <p:cNvPr id="3" name="Slide Number Placeholder 1">
            <a:extLst>
              <a:ext uri="{FF2B5EF4-FFF2-40B4-BE49-F238E27FC236}">
                <a16:creationId xmlns:a16="http://schemas.microsoft.com/office/drawing/2014/main" id="{901F961B-5358-FA4F-5217-60D1CEC6E9D5}"/>
              </a:ext>
            </a:extLst>
          </p:cNvPr>
          <p:cNvSpPr txBox="1">
            <a:spLocks/>
          </p:cNvSpPr>
          <p:nvPr/>
        </p:nvSpPr>
        <p:spPr>
          <a:xfrm>
            <a:off x="269875" y="6431279"/>
            <a:ext cx="482600" cy="155259"/>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6BB336-FA68-49FA-BBEA-E8420972406D}" type="slidenum">
              <a:rPr lang="en-GB" sz="800" smtClean="0"/>
              <a:pPr/>
              <a:t>7</a:t>
            </a:fld>
            <a:endParaRPr lang="en-GB" sz="800"/>
          </a:p>
        </p:txBody>
      </p:sp>
      <p:sp>
        <p:nvSpPr>
          <p:cNvPr id="4" name="Content Placeholder 7">
            <a:extLst>
              <a:ext uri="{FF2B5EF4-FFF2-40B4-BE49-F238E27FC236}">
                <a16:creationId xmlns:a16="http://schemas.microsoft.com/office/drawing/2014/main" id="{6047F048-7B9F-B908-FA6D-713B42F1BC67}"/>
              </a:ext>
            </a:extLst>
          </p:cNvPr>
          <p:cNvSpPr txBox="1">
            <a:spLocks/>
          </p:cNvSpPr>
          <p:nvPr/>
        </p:nvSpPr>
        <p:spPr bwMode="auto">
          <a:xfrm>
            <a:off x="283487" y="1783256"/>
            <a:ext cx="4974313" cy="3924300"/>
          </a:xfrm>
          <a:prstGeom prst="rect">
            <a:avLst/>
          </a:prstGeom>
          <a:noFill/>
          <a:ln w="9525">
            <a:noFill/>
            <a:miter lim="800000"/>
            <a:headEnd/>
            <a:tailEnd/>
          </a:ln>
        </p:spPr>
        <p:txBody>
          <a:bodyPr lIns="0" tIns="0" rIns="0" bIns="0"/>
          <a:lstStyle/>
          <a:p>
            <a:pPr marL="180969" indent="-180969">
              <a:buFont typeface="Arial" pitchFamily="34" charset="0"/>
              <a:buChar char="•"/>
              <a:defRPr/>
            </a:pPr>
            <a:r>
              <a:rPr lang="da-DK" b="1" dirty="0">
                <a:latin typeface="DFDS Sans Offc" panose="00000500000000000000" pitchFamily="2" charset="0"/>
              </a:rPr>
              <a:t>Q4 EBIT </a:t>
            </a:r>
            <a:r>
              <a:rPr lang="da-DK" dirty="0">
                <a:latin typeface="DFDS Sans Offc" panose="00000500000000000000" pitchFamily="2" charset="0"/>
              </a:rPr>
              <a:t>of DKK 2m </a:t>
            </a:r>
            <a:r>
              <a:rPr lang="da-DK" dirty="0" err="1">
                <a:latin typeface="DFDS Sans Offc" panose="00000500000000000000" pitchFamily="2" charset="0"/>
              </a:rPr>
              <a:t>down</a:t>
            </a:r>
            <a:r>
              <a:rPr lang="da-DK" dirty="0">
                <a:latin typeface="DFDS Sans Offc" panose="00000500000000000000" pitchFamily="2" charset="0"/>
              </a:rPr>
              <a:t> from DKK 358m</a:t>
            </a:r>
          </a:p>
          <a:p>
            <a:pPr marL="180969" indent="-180969">
              <a:buFont typeface="Arial" pitchFamily="34" charset="0"/>
              <a:buChar char="•"/>
              <a:defRPr/>
            </a:pPr>
            <a:endParaRPr lang="da-DK" dirty="0">
              <a:latin typeface="DFDS Sans Offc" panose="00000500000000000000" pitchFamily="2" charset="0"/>
            </a:endParaRPr>
          </a:p>
          <a:p>
            <a:pPr marL="180969" indent="-180969">
              <a:buFont typeface="Arial" pitchFamily="34" charset="0"/>
              <a:buChar char="•"/>
              <a:defRPr/>
            </a:pPr>
            <a:r>
              <a:rPr lang="da-DK" b="1" dirty="0">
                <a:latin typeface="DFDS Sans Offc" panose="00000500000000000000" pitchFamily="2" charset="0"/>
              </a:rPr>
              <a:t>Ferry</a:t>
            </a:r>
            <a:r>
              <a:rPr lang="da-DK" dirty="0">
                <a:latin typeface="DFDS Sans Offc" panose="00000500000000000000" pitchFamily="2" charset="0"/>
              </a:rPr>
              <a:t> Q4 EBIT </a:t>
            </a:r>
            <a:r>
              <a:rPr lang="da-DK" dirty="0" err="1">
                <a:latin typeface="DFDS Sans Offc" panose="00000500000000000000" pitchFamily="2" charset="0"/>
              </a:rPr>
              <a:t>down</a:t>
            </a:r>
            <a:r>
              <a:rPr lang="da-DK" dirty="0">
                <a:latin typeface="DFDS Sans Offc" panose="00000500000000000000" pitchFamily="2" charset="0"/>
              </a:rPr>
              <a:t> DKK 301m or 84% to DKK 56m driven by </a:t>
            </a:r>
            <a:r>
              <a:rPr lang="da-DK" dirty="0" err="1">
                <a:latin typeface="DFDS Sans Offc" panose="00000500000000000000" pitchFamily="2" charset="0"/>
              </a:rPr>
              <a:t>lower</a:t>
            </a:r>
            <a:r>
              <a:rPr lang="da-DK" dirty="0">
                <a:latin typeface="DFDS Sans Offc" panose="00000500000000000000" pitchFamily="2" charset="0"/>
              </a:rPr>
              <a:t> </a:t>
            </a:r>
            <a:r>
              <a:rPr lang="da-DK" dirty="0" err="1">
                <a:latin typeface="DFDS Sans Offc" panose="00000500000000000000" pitchFamily="2" charset="0"/>
              </a:rPr>
              <a:t>Mediterranean</a:t>
            </a:r>
            <a:r>
              <a:rPr lang="da-DK" dirty="0">
                <a:latin typeface="DFDS Sans Offc" panose="00000500000000000000" pitchFamily="2" charset="0"/>
              </a:rPr>
              <a:t> </a:t>
            </a:r>
            <a:r>
              <a:rPr lang="da-DK" dirty="0" err="1">
                <a:latin typeface="DFDS Sans Offc" panose="00000500000000000000" pitchFamily="2" charset="0"/>
              </a:rPr>
              <a:t>result</a:t>
            </a:r>
            <a:r>
              <a:rPr lang="da-DK" dirty="0">
                <a:latin typeface="DFDS Sans Offc" panose="00000500000000000000" pitchFamily="2" charset="0"/>
              </a:rPr>
              <a:t> and </a:t>
            </a:r>
            <a:r>
              <a:rPr lang="da-DK" dirty="0" err="1">
                <a:latin typeface="DFDS Sans Offc" panose="00000500000000000000" pitchFamily="2" charset="0"/>
              </a:rPr>
              <a:t>one-off</a:t>
            </a:r>
            <a:r>
              <a:rPr lang="da-DK" dirty="0">
                <a:latin typeface="DFDS Sans Offc" panose="00000500000000000000" pitchFamily="2" charset="0"/>
              </a:rPr>
              <a:t> </a:t>
            </a:r>
            <a:r>
              <a:rPr lang="da-DK" dirty="0" err="1">
                <a:latin typeface="DFDS Sans Offc" panose="00000500000000000000" pitchFamily="2" charset="0"/>
              </a:rPr>
              <a:t>gain</a:t>
            </a:r>
            <a:r>
              <a:rPr lang="da-DK" dirty="0">
                <a:latin typeface="DFDS Sans Offc" panose="00000500000000000000" pitchFamily="2" charset="0"/>
              </a:rPr>
              <a:t> in 2023</a:t>
            </a:r>
            <a:endParaRPr lang="da-DK" dirty="0">
              <a:highlight>
                <a:srgbClr val="FFFF00"/>
              </a:highlight>
              <a:latin typeface="DFDS Sans Offc" panose="00000500000000000000" pitchFamily="2" charset="0"/>
            </a:endParaRPr>
          </a:p>
          <a:p>
            <a:pPr marL="180969" indent="-180969">
              <a:buFont typeface="Arial" pitchFamily="34" charset="0"/>
              <a:buChar char="•"/>
              <a:defRPr/>
            </a:pPr>
            <a:endParaRPr lang="da-DK" b="1" dirty="0">
              <a:latin typeface="DFDS Sans Offc" panose="00000500000000000000" pitchFamily="2" charset="0"/>
            </a:endParaRPr>
          </a:p>
          <a:p>
            <a:pPr marL="180969" indent="-180969">
              <a:buFont typeface="Arial" pitchFamily="34" charset="0"/>
              <a:buChar char="•"/>
              <a:defRPr/>
            </a:pPr>
            <a:r>
              <a:rPr lang="da-DK" b="1" dirty="0">
                <a:latin typeface="DFDS Sans Offc" panose="00000500000000000000" pitchFamily="2" charset="0"/>
              </a:rPr>
              <a:t>Logistics</a:t>
            </a:r>
            <a:r>
              <a:rPr lang="da-DK" dirty="0">
                <a:latin typeface="DFDS Sans Offc" panose="00000500000000000000" pitchFamily="2" charset="0"/>
              </a:rPr>
              <a:t> Q4 EBIT </a:t>
            </a:r>
            <a:r>
              <a:rPr lang="da-DK" dirty="0" err="1">
                <a:latin typeface="DFDS Sans Offc" panose="00000500000000000000" pitchFamily="2" charset="0"/>
              </a:rPr>
              <a:t>down</a:t>
            </a:r>
            <a:r>
              <a:rPr lang="da-DK" dirty="0">
                <a:latin typeface="DFDS Sans Offc" panose="00000500000000000000" pitchFamily="2" charset="0"/>
              </a:rPr>
              <a:t> DKK 117m to</a:t>
            </a:r>
            <a:br>
              <a:rPr lang="da-DK" dirty="0">
                <a:latin typeface="DFDS Sans Offc" panose="00000500000000000000" pitchFamily="2" charset="0"/>
              </a:rPr>
            </a:br>
            <a:r>
              <a:rPr lang="da-DK" dirty="0">
                <a:latin typeface="DFDS Sans Offc" panose="00000500000000000000" pitchFamily="2" charset="0"/>
              </a:rPr>
              <a:t>DKK -30m </a:t>
            </a:r>
            <a:r>
              <a:rPr lang="en-GB" dirty="0">
                <a:latin typeface="DFDS Sans Offc" panose="00000500000000000000" pitchFamily="2" charset="0"/>
              </a:rPr>
              <a:t>and down DKK 55m to DKK 32m adjusting for the </a:t>
            </a:r>
            <a:r>
              <a:rPr lang="en-GB" dirty="0" err="1">
                <a:latin typeface="DFDS Sans Offc" panose="00000500000000000000" pitchFamily="2" charset="0"/>
              </a:rPr>
              <a:t>Ekol</a:t>
            </a:r>
            <a:r>
              <a:rPr lang="en-GB" dirty="0">
                <a:latin typeface="DFDS Sans Offc" panose="00000500000000000000" pitchFamily="2" charset="0"/>
              </a:rPr>
              <a:t> acquisition</a:t>
            </a:r>
          </a:p>
          <a:p>
            <a:pPr marL="180969" indent="-180969">
              <a:buFont typeface="Arial" pitchFamily="34" charset="0"/>
              <a:buChar char="•"/>
              <a:defRPr/>
            </a:pPr>
            <a:endParaRPr lang="en-GB" dirty="0">
              <a:latin typeface="DFDS Sans Offc" panose="00000500000000000000" pitchFamily="2" charset="0"/>
            </a:endParaRPr>
          </a:p>
          <a:p>
            <a:pPr marL="180969" indent="-180969">
              <a:buFont typeface="Arial" pitchFamily="34" charset="0"/>
              <a:buChar char="•"/>
              <a:defRPr/>
            </a:pPr>
            <a:r>
              <a:rPr lang="en-GB" dirty="0">
                <a:latin typeface="DFDS Sans Offc" panose="00000500000000000000" pitchFamily="2" charset="0"/>
              </a:rPr>
              <a:t>UK &amp; </a:t>
            </a:r>
            <a:r>
              <a:rPr lang="en-GB">
                <a:latin typeface="DFDS Sans Offc" panose="00000500000000000000" pitchFamily="2" charset="0"/>
              </a:rPr>
              <a:t>Ireland result level </a:t>
            </a:r>
            <a:r>
              <a:rPr lang="en-GB" dirty="0">
                <a:latin typeface="DFDS Sans Offc" panose="00000500000000000000" pitchFamily="2" charset="0"/>
              </a:rPr>
              <a:t>robust</a:t>
            </a:r>
          </a:p>
          <a:p>
            <a:pPr marL="180969" indent="-180969">
              <a:buFont typeface="Arial" pitchFamily="34" charset="0"/>
              <a:buChar char="•"/>
              <a:defRPr/>
            </a:pPr>
            <a:endParaRPr lang="en-GB" dirty="0">
              <a:highlight>
                <a:srgbClr val="FFFF00"/>
              </a:highlight>
              <a:latin typeface="DFDS Sans Offc" panose="00000500000000000000" pitchFamily="2" charset="0"/>
            </a:endParaRPr>
          </a:p>
          <a:p>
            <a:pPr marL="180969" indent="-180969">
              <a:buFont typeface="Arial" pitchFamily="34" charset="0"/>
              <a:buChar char="•"/>
              <a:defRPr/>
            </a:pPr>
            <a:r>
              <a:rPr lang="en-GB" dirty="0">
                <a:latin typeface="DFDS Sans Offc" panose="00000500000000000000" pitchFamily="2" charset="0"/>
              </a:rPr>
              <a:t>Nordic &amp; Continent results lowered by slowdown in road transport, Baltic region, automotive, and Brexit phase 3</a:t>
            </a:r>
            <a:endParaRPr lang="da-DK" dirty="0">
              <a:latin typeface="DFDS Sans Offc" panose="00000500000000000000" pitchFamily="2" charset="0"/>
            </a:endParaRPr>
          </a:p>
        </p:txBody>
      </p:sp>
      <p:graphicFrame>
        <p:nvGraphicFramePr>
          <p:cNvPr id="2" name="Chart 1">
            <a:extLst>
              <a:ext uri="{FF2B5EF4-FFF2-40B4-BE49-F238E27FC236}">
                <a16:creationId xmlns:a16="http://schemas.microsoft.com/office/drawing/2014/main" id="{8C224A76-E857-4199-B86C-1DC590AA31B5}"/>
              </a:ext>
            </a:extLst>
          </p:cNvPr>
          <p:cNvGraphicFramePr>
            <a:graphicFrameLocks/>
          </p:cNvGraphicFramePr>
          <p:nvPr>
            <p:extLst>
              <p:ext uri="{D42A27DB-BD31-4B8C-83A1-F6EECF244321}">
                <p14:modId xmlns:p14="http://schemas.microsoft.com/office/powerpoint/2010/main" val="1953774173"/>
              </p:ext>
            </p:extLst>
          </p:nvPr>
        </p:nvGraphicFramePr>
        <p:xfrm>
          <a:off x="6368936" y="204621"/>
          <a:ext cx="5746074" cy="311416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Chart 8">
            <a:extLst>
              <a:ext uri="{FF2B5EF4-FFF2-40B4-BE49-F238E27FC236}">
                <a16:creationId xmlns:a16="http://schemas.microsoft.com/office/drawing/2014/main" id="{70B32ED8-570B-402C-B5C4-2E511FAF5AD6}"/>
              </a:ext>
            </a:extLst>
          </p:cNvPr>
          <p:cNvGraphicFramePr>
            <a:graphicFrameLocks/>
          </p:cNvGraphicFramePr>
          <p:nvPr>
            <p:extLst>
              <p:ext uri="{D42A27DB-BD31-4B8C-83A1-F6EECF244321}">
                <p14:modId xmlns:p14="http://schemas.microsoft.com/office/powerpoint/2010/main" val="131345348"/>
              </p:ext>
            </p:extLst>
          </p:nvPr>
        </p:nvGraphicFramePr>
        <p:xfrm>
          <a:off x="6368937" y="3633621"/>
          <a:ext cx="5746074" cy="279765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06381590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C8EB46E-754D-4239-8498-640983F9545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8" imgH="278" progId="TCLayout.ActiveDocument.1">
                  <p:embed/>
                </p:oleObj>
              </mc:Choice>
              <mc:Fallback>
                <p:oleObj name="think-cell Slide" r:id="rId4" imgW="278" imgH="278" progId="TCLayout.ActiveDocument.1">
                  <p:embed/>
                  <p:pic>
                    <p:nvPicPr>
                      <p:cNvPr id="5" name="Object 4" hidden="1">
                        <a:extLst>
                          <a:ext uri="{FF2B5EF4-FFF2-40B4-BE49-F238E27FC236}">
                            <a16:creationId xmlns:a16="http://schemas.microsoft.com/office/drawing/2014/main" id="{1C8EB46E-754D-4239-8498-640983F9545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0D5AF93A-54B4-41D8-B519-B05CA4715B2E}"/>
              </a:ext>
            </a:extLst>
          </p:cNvPr>
          <p:cNvSpPr/>
          <p:nvPr>
            <p:custDataLst>
              <p:tags r:id="rId2"/>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da-DK" sz="2400" dirty="0">
              <a:solidFill>
                <a:schemeClr val="bg1"/>
              </a:solidFill>
              <a:latin typeface="DFDS Bold" panose="00000800000000000000" pitchFamily="2" charset="0"/>
              <a:ea typeface="+mj-ea"/>
              <a:cs typeface="+mj-cs"/>
              <a:sym typeface="DFDS Bold" panose="00000800000000000000" pitchFamily="2" charset="0"/>
            </a:endParaRPr>
          </a:p>
        </p:txBody>
      </p:sp>
      <p:sp>
        <p:nvSpPr>
          <p:cNvPr id="15" name="Rectangle 4">
            <a:extLst>
              <a:ext uri="{FF2B5EF4-FFF2-40B4-BE49-F238E27FC236}">
                <a16:creationId xmlns:a16="http://schemas.microsoft.com/office/drawing/2014/main" id="{1DC67B56-FB19-4531-A1BF-6405DBA22DED}"/>
              </a:ext>
            </a:extLst>
          </p:cNvPr>
          <p:cNvSpPr txBox="1">
            <a:spLocks noChangeArrowheads="1"/>
          </p:cNvSpPr>
          <p:nvPr/>
        </p:nvSpPr>
        <p:spPr>
          <a:xfrm>
            <a:off x="278652" y="276719"/>
            <a:ext cx="9303618" cy="785812"/>
          </a:xfrm>
          <a:prstGeom prst="rect">
            <a:avLst/>
          </a:prstGeom>
        </p:spPr>
        <p:txBody>
          <a:bodyPr vert="horz" wrap="square" lIns="0" tIns="0" rIns="0" bIns="0" rtlCol="0" anchor="ctr">
            <a:noAutofit/>
          </a:bodyPr>
          <a:lstStyle>
            <a:defPPr>
              <a:defRPr lang="en-US"/>
            </a:defPPr>
            <a:lvl1pPr>
              <a:lnSpc>
                <a:spcPct val="90000"/>
              </a:lnSpc>
              <a:spcBef>
                <a:spcPct val="0"/>
              </a:spcBef>
              <a:buNone/>
              <a:defRPr sz="2800">
                <a:solidFill>
                  <a:schemeClr val="accent1"/>
                </a:solidFill>
                <a:latin typeface="+mj-lt"/>
                <a:ea typeface="+mj-ea"/>
                <a:cs typeface="+mj-cs"/>
              </a:defRPr>
            </a:lvl1pPr>
          </a:lstStyle>
          <a:p>
            <a:r>
              <a:rPr lang="da-DK" sz="3200"/>
              <a:t>Q4 2024 income statement </a:t>
            </a:r>
          </a:p>
          <a:p>
            <a:endParaRPr lang="en-US" sz="3200" dirty="0"/>
          </a:p>
        </p:txBody>
      </p:sp>
      <p:sp>
        <p:nvSpPr>
          <p:cNvPr id="25" name="TextBox 8">
            <a:extLst>
              <a:ext uri="{FF2B5EF4-FFF2-40B4-BE49-F238E27FC236}">
                <a16:creationId xmlns:a16="http://schemas.microsoft.com/office/drawing/2014/main" id="{BA8C1A9D-0882-41EA-B21E-5352366989F0}"/>
              </a:ext>
            </a:extLst>
          </p:cNvPr>
          <p:cNvSpPr txBox="1">
            <a:spLocks noChangeArrowheads="1"/>
          </p:cNvSpPr>
          <p:nvPr/>
        </p:nvSpPr>
        <p:spPr bwMode="auto">
          <a:xfrm>
            <a:off x="11501438" y="1285875"/>
            <a:ext cx="1847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atin typeface="DFDS Light" panose="02000300000000020000" pitchFamily="2" charset="0"/>
            </a:endParaRPr>
          </a:p>
        </p:txBody>
      </p:sp>
      <p:sp>
        <p:nvSpPr>
          <p:cNvPr id="26" name="Content Placeholder 7">
            <a:extLst>
              <a:ext uri="{FF2B5EF4-FFF2-40B4-BE49-F238E27FC236}">
                <a16:creationId xmlns:a16="http://schemas.microsoft.com/office/drawing/2014/main" id="{31A3359E-1EFA-43A1-AB7B-7711F858EA92}"/>
              </a:ext>
            </a:extLst>
          </p:cNvPr>
          <p:cNvSpPr txBox="1">
            <a:spLocks/>
          </p:cNvSpPr>
          <p:nvPr/>
        </p:nvSpPr>
        <p:spPr bwMode="auto">
          <a:xfrm>
            <a:off x="275622" y="1833905"/>
            <a:ext cx="4744053" cy="392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80975" indent="-180975">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buFont typeface="Arial" panose="020B0604020202020204" pitchFamily="34" charset="0"/>
              <a:buChar char="•"/>
            </a:pPr>
            <a:r>
              <a:rPr lang="da-DK" b="1" dirty="0">
                <a:latin typeface="DFDS Sans Offc" panose="00000500000000000000" pitchFamily="2" charset="0"/>
              </a:rPr>
              <a:t>EBITDA</a:t>
            </a:r>
            <a:r>
              <a:rPr lang="da-DK" dirty="0">
                <a:latin typeface="DFDS Sans Offc" panose="00000500000000000000" pitchFamily="2" charset="0"/>
              </a:rPr>
              <a:t> </a:t>
            </a:r>
            <a:r>
              <a:rPr lang="da-DK" dirty="0" err="1">
                <a:latin typeface="DFDS Sans Offc" panose="00000500000000000000" pitchFamily="2" charset="0"/>
              </a:rPr>
              <a:t>down</a:t>
            </a:r>
            <a:r>
              <a:rPr lang="da-DK" dirty="0">
                <a:latin typeface="DFDS Sans Offc" panose="00000500000000000000" pitchFamily="2" charset="0"/>
              </a:rPr>
              <a:t> 25% </a:t>
            </a:r>
            <a:r>
              <a:rPr lang="da-DK" dirty="0" err="1">
                <a:latin typeface="DFDS Sans Offc" panose="00000500000000000000" pitchFamily="2" charset="0"/>
              </a:rPr>
              <a:t>following</a:t>
            </a:r>
            <a:r>
              <a:rPr lang="da-DK" dirty="0">
                <a:latin typeface="DFDS Sans Offc" panose="00000500000000000000" pitchFamily="2" charset="0"/>
              </a:rPr>
              <a:t> </a:t>
            </a:r>
            <a:r>
              <a:rPr lang="da-DK" dirty="0" err="1">
                <a:latin typeface="DFDS Sans Offc" panose="00000500000000000000" pitchFamily="2" charset="0"/>
              </a:rPr>
              <a:t>lower</a:t>
            </a:r>
            <a:r>
              <a:rPr lang="da-DK" dirty="0">
                <a:latin typeface="DFDS Sans Offc" panose="00000500000000000000" pitchFamily="2" charset="0"/>
              </a:rPr>
              <a:t> </a:t>
            </a:r>
            <a:r>
              <a:rPr lang="da-DK" dirty="0" err="1">
                <a:latin typeface="DFDS Sans Offc" panose="00000500000000000000" pitchFamily="2" charset="0"/>
              </a:rPr>
              <a:t>results</a:t>
            </a:r>
            <a:r>
              <a:rPr lang="da-DK" dirty="0">
                <a:latin typeface="DFDS Sans Offc" panose="00000500000000000000" pitchFamily="2" charset="0"/>
              </a:rPr>
              <a:t> in </a:t>
            </a:r>
            <a:r>
              <a:rPr lang="da-DK" dirty="0" err="1">
                <a:latin typeface="DFDS Sans Offc" panose="00000500000000000000" pitchFamily="2" charset="0"/>
              </a:rPr>
              <a:t>both</a:t>
            </a:r>
            <a:r>
              <a:rPr lang="da-DK" dirty="0">
                <a:latin typeface="DFDS Sans Offc" panose="00000500000000000000" pitchFamily="2" charset="0"/>
              </a:rPr>
              <a:t> divisions</a:t>
            </a:r>
          </a:p>
          <a:p>
            <a:pPr>
              <a:buFont typeface="Arial" panose="020B0604020202020204" pitchFamily="34" charset="0"/>
              <a:buChar char="•"/>
            </a:pPr>
            <a:endParaRPr lang="da-DK" dirty="0">
              <a:latin typeface="DFDS Sans Offc" panose="00000500000000000000" pitchFamily="2" charset="0"/>
            </a:endParaRPr>
          </a:p>
          <a:p>
            <a:pPr>
              <a:buFont typeface="Arial" panose="020B0604020202020204" pitchFamily="34" charset="0"/>
              <a:buChar char="•"/>
            </a:pPr>
            <a:r>
              <a:rPr lang="da-DK" dirty="0">
                <a:latin typeface="DFDS Sans Offc" panose="00000500000000000000" pitchFamily="2" charset="0"/>
              </a:rPr>
              <a:t>EBIT Q4 2023 included gain of DKK 96m from sale and leaseback of ferries</a:t>
            </a:r>
          </a:p>
          <a:p>
            <a:pPr>
              <a:buFont typeface="Arial" panose="020B0604020202020204" pitchFamily="34" charset="0"/>
              <a:buChar char="•"/>
            </a:pPr>
            <a:endParaRPr lang="da-DK" dirty="0">
              <a:latin typeface="DFDS Sans Offc" panose="00000500000000000000" pitchFamily="2" charset="0"/>
            </a:endParaRPr>
          </a:p>
          <a:p>
            <a:pPr eaLnBrk="1" hangingPunct="1">
              <a:buFont typeface="Arial" panose="020B0604020202020204" pitchFamily="34" charset="0"/>
              <a:buChar char="•"/>
            </a:pPr>
            <a:r>
              <a:rPr lang="da-DK" b="1" dirty="0">
                <a:latin typeface="DFDS Sans Offc" panose="00000500000000000000" pitchFamily="2" charset="0"/>
              </a:rPr>
              <a:t>Depreciation</a:t>
            </a:r>
            <a:r>
              <a:rPr lang="da-DK" dirty="0">
                <a:latin typeface="DFDS Sans Offc" panose="00000500000000000000" pitchFamily="2" charset="0"/>
              </a:rPr>
              <a:t> up 3% or DKK 21m driven mainly by addition </a:t>
            </a:r>
            <a:r>
              <a:rPr lang="da-DK">
                <a:latin typeface="DFDS Sans Offc" panose="00000500000000000000" pitchFamily="2" charset="0"/>
              </a:rPr>
              <a:t>of Ekol International Transport</a:t>
            </a:r>
            <a:endParaRPr lang="da-DK" dirty="0">
              <a:highlight>
                <a:srgbClr val="FFFF00"/>
              </a:highlight>
              <a:latin typeface="DFDS Sans Offc" panose="00000500000000000000" pitchFamily="2" charset="0"/>
            </a:endParaRPr>
          </a:p>
          <a:p>
            <a:pPr eaLnBrk="1" hangingPunct="1">
              <a:buFont typeface="Arial" panose="020B0604020202020204" pitchFamily="34" charset="0"/>
              <a:buChar char="•"/>
            </a:pPr>
            <a:endParaRPr lang="da-DK" dirty="0">
              <a:latin typeface="DFDS Sans Offc" panose="00000500000000000000" pitchFamily="2" charset="0"/>
            </a:endParaRPr>
          </a:p>
          <a:p>
            <a:pPr>
              <a:buFont typeface="Arial" panose="020B0604020202020204" pitchFamily="34" charset="0"/>
              <a:buChar char="•"/>
            </a:pPr>
            <a:r>
              <a:rPr lang="da-DK" b="1" dirty="0">
                <a:latin typeface="DFDS Sans Offc" panose="00000500000000000000" pitchFamily="2" charset="0"/>
              </a:rPr>
              <a:t>Finance</a:t>
            </a:r>
            <a:r>
              <a:rPr lang="da-DK" dirty="0">
                <a:latin typeface="DFDS Sans Offc" panose="00000500000000000000" pitchFamily="2" charset="0"/>
              </a:rPr>
              <a:t> </a:t>
            </a:r>
            <a:r>
              <a:rPr lang="da-DK" dirty="0" err="1">
                <a:latin typeface="DFDS Sans Offc" panose="00000500000000000000" pitchFamily="2" charset="0"/>
              </a:rPr>
              <a:t>cost</a:t>
            </a:r>
            <a:r>
              <a:rPr lang="da-DK" dirty="0">
                <a:latin typeface="DFDS Sans Offc" panose="00000500000000000000" pitchFamily="2" charset="0"/>
              </a:rPr>
              <a:t> up 32% or DKK 57m</a:t>
            </a:r>
          </a:p>
          <a:p>
            <a:pPr>
              <a:buFont typeface="Arial" panose="020B0604020202020204" pitchFamily="34" charset="0"/>
              <a:buChar char="•"/>
            </a:pPr>
            <a:endParaRPr lang="da-DK" dirty="0">
              <a:latin typeface="DFDS Sans Offc" panose="00000500000000000000" pitchFamily="2" charset="0"/>
            </a:endParaRPr>
          </a:p>
          <a:p>
            <a:pPr>
              <a:buFont typeface="Arial" panose="020B0604020202020204" pitchFamily="34" charset="0"/>
              <a:buChar char="•"/>
            </a:pPr>
            <a:r>
              <a:rPr lang="da-DK" dirty="0">
                <a:latin typeface="DFDS Sans Offc" panose="00000500000000000000" pitchFamily="2" charset="0"/>
              </a:rPr>
              <a:t>Variance from one-off income in 2023 related to sale and leaseback and higher net interest cost</a:t>
            </a:r>
          </a:p>
        </p:txBody>
      </p:sp>
      <p:sp>
        <p:nvSpPr>
          <p:cNvPr id="3" name="Slide Number Placeholder 3">
            <a:extLst>
              <a:ext uri="{FF2B5EF4-FFF2-40B4-BE49-F238E27FC236}">
                <a16:creationId xmlns:a16="http://schemas.microsoft.com/office/drawing/2014/main" id="{3993B00E-4D5B-F90E-9276-4AF24D67C60C}"/>
              </a:ext>
            </a:extLst>
          </p:cNvPr>
          <p:cNvSpPr txBox="1">
            <a:spLocks/>
          </p:cNvSpPr>
          <p:nvPr/>
        </p:nvSpPr>
        <p:spPr>
          <a:xfrm>
            <a:off x="269875" y="6431279"/>
            <a:ext cx="269875" cy="180000"/>
          </a:xfrm>
          <a:prstGeom prst="rect">
            <a:avLst/>
          </a:prstGeom>
        </p:spPr>
        <p:txBody>
          <a:bodyPr r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3AA811B-2EBD-4900-905E-5BE206449611}" type="slidenum">
              <a:rPr lang="en-GB" sz="800" smtClean="0"/>
              <a:pPr/>
              <a:t>8</a:t>
            </a:fld>
            <a:endParaRPr lang="en-GB" sz="800"/>
          </a:p>
        </p:txBody>
      </p:sp>
      <p:pic>
        <p:nvPicPr>
          <p:cNvPr id="4" name="Picture 3">
            <a:extLst>
              <a:ext uri="{FF2B5EF4-FFF2-40B4-BE49-F238E27FC236}">
                <a16:creationId xmlns:a16="http://schemas.microsoft.com/office/drawing/2014/main" id="{765D8BD0-9006-8578-896D-EA9E30D363D5}"/>
              </a:ext>
            </a:extLst>
          </p:cNvPr>
          <p:cNvPicPr>
            <a:picLocks noChangeAspect="1"/>
          </p:cNvPicPr>
          <p:nvPr/>
        </p:nvPicPr>
        <p:blipFill>
          <a:blip r:embed="rId6"/>
          <a:stretch>
            <a:fillRect/>
          </a:stretch>
        </p:blipFill>
        <p:spPr>
          <a:xfrm>
            <a:off x="7044539" y="1287451"/>
            <a:ext cx="4876000" cy="4853000"/>
          </a:xfrm>
          <a:prstGeom prst="rect">
            <a:avLst/>
          </a:prstGeom>
        </p:spPr>
      </p:pic>
    </p:spTree>
    <p:extLst>
      <p:ext uri="{BB962C8B-B14F-4D97-AF65-F5344CB8AC3E}">
        <p14:creationId xmlns:p14="http://schemas.microsoft.com/office/powerpoint/2010/main" val="12473514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C8EB46E-754D-4239-8498-640983F9545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8" imgH="278" progId="TCLayout.ActiveDocument.1">
                  <p:embed/>
                </p:oleObj>
              </mc:Choice>
              <mc:Fallback>
                <p:oleObj name="think-cell Slide" r:id="rId4" imgW="278" imgH="278" progId="TCLayout.ActiveDocument.1">
                  <p:embed/>
                  <p:pic>
                    <p:nvPicPr>
                      <p:cNvPr id="5" name="Object 4" hidden="1">
                        <a:extLst>
                          <a:ext uri="{FF2B5EF4-FFF2-40B4-BE49-F238E27FC236}">
                            <a16:creationId xmlns:a16="http://schemas.microsoft.com/office/drawing/2014/main" id="{1C8EB46E-754D-4239-8498-640983F9545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0D5AF93A-54B4-41D8-B519-B05CA4715B2E}"/>
              </a:ext>
            </a:extLst>
          </p:cNvPr>
          <p:cNvSpPr/>
          <p:nvPr>
            <p:custDataLst>
              <p:tags r:id="rId2"/>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da-DK" sz="2400">
              <a:solidFill>
                <a:schemeClr val="bg1"/>
              </a:solidFill>
              <a:latin typeface="DFDS Bold" panose="00000800000000000000" pitchFamily="2" charset="0"/>
              <a:ea typeface="+mj-ea"/>
              <a:cs typeface="+mj-cs"/>
              <a:sym typeface="DFDS Bold" panose="00000800000000000000" pitchFamily="2" charset="0"/>
            </a:endParaRPr>
          </a:p>
        </p:txBody>
      </p:sp>
      <p:sp>
        <p:nvSpPr>
          <p:cNvPr id="3" name="Slide Number Placeholder 2">
            <a:extLst>
              <a:ext uri="{FF2B5EF4-FFF2-40B4-BE49-F238E27FC236}">
                <a16:creationId xmlns:a16="http://schemas.microsoft.com/office/drawing/2014/main" id="{33EF6948-F973-6265-9D00-D1DBCB364075}"/>
              </a:ext>
            </a:extLst>
          </p:cNvPr>
          <p:cNvSpPr>
            <a:spLocks noGrp="1"/>
          </p:cNvSpPr>
          <p:nvPr>
            <p:ph type="sldNum" sz="quarter" idx="17"/>
          </p:nvPr>
        </p:nvSpPr>
        <p:spPr/>
        <p:txBody>
          <a:bodyPr/>
          <a:lstStyle/>
          <a:p>
            <a:fld id="{23AA811B-2EBD-4900-905E-5BE206449611}" type="slidenum">
              <a:rPr lang="en-GB" smtClean="0"/>
              <a:pPr/>
              <a:t>9</a:t>
            </a:fld>
            <a:endParaRPr lang="en-GB"/>
          </a:p>
        </p:txBody>
      </p:sp>
      <p:sp>
        <p:nvSpPr>
          <p:cNvPr id="39" name="Rectangle 4">
            <a:extLst>
              <a:ext uri="{FF2B5EF4-FFF2-40B4-BE49-F238E27FC236}">
                <a16:creationId xmlns:a16="http://schemas.microsoft.com/office/drawing/2014/main" id="{C6DF9423-C3E0-4078-B910-4D21683DA3FF}"/>
              </a:ext>
            </a:extLst>
          </p:cNvPr>
          <p:cNvSpPr>
            <a:spLocks noGrp="1" noChangeArrowheads="1"/>
          </p:cNvSpPr>
          <p:nvPr>
            <p:ph type="ctrTitle"/>
          </p:nvPr>
        </p:nvSpPr>
        <p:spPr>
          <a:xfrm>
            <a:off x="269876" y="356275"/>
            <a:ext cx="4749799" cy="1416050"/>
          </a:xfrm>
        </p:spPr>
        <p:txBody>
          <a:bodyPr vert="horz" wrap="square" lIns="0" tIns="0" rIns="0" bIns="0" rtlCol="0" anchor="ctr">
            <a:noAutofit/>
          </a:bodyPr>
          <a:lstStyle/>
          <a:p>
            <a:r>
              <a:rPr lang="da-DK"/>
              <a:t>Full-year 2024</a:t>
            </a:r>
            <a:endParaRPr lang="en-US"/>
          </a:p>
        </p:txBody>
      </p:sp>
      <p:sp>
        <p:nvSpPr>
          <p:cNvPr id="41" name="TextBox 8">
            <a:extLst>
              <a:ext uri="{FF2B5EF4-FFF2-40B4-BE49-F238E27FC236}">
                <a16:creationId xmlns:a16="http://schemas.microsoft.com/office/drawing/2014/main" id="{D387D46F-34F7-48A9-A510-23DBE8B25996}"/>
              </a:ext>
            </a:extLst>
          </p:cNvPr>
          <p:cNvSpPr txBox="1">
            <a:spLocks noChangeArrowheads="1"/>
          </p:cNvSpPr>
          <p:nvPr/>
        </p:nvSpPr>
        <p:spPr bwMode="auto">
          <a:xfrm>
            <a:off x="11501438" y="1285875"/>
            <a:ext cx="1847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atin typeface="DFDS Light" panose="02000300000000020000" pitchFamily="2" charset="0"/>
            </a:endParaRPr>
          </a:p>
        </p:txBody>
      </p:sp>
      <p:sp>
        <p:nvSpPr>
          <p:cNvPr id="7" name="Subtitle 6">
            <a:extLst>
              <a:ext uri="{FF2B5EF4-FFF2-40B4-BE49-F238E27FC236}">
                <a16:creationId xmlns:a16="http://schemas.microsoft.com/office/drawing/2014/main" id="{63B9B49F-6796-9D74-1963-509B242508A4}"/>
              </a:ext>
            </a:extLst>
          </p:cNvPr>
          <p:cNvSpPr>
            <a:spLocks noGrp="1"/>
          </p:cNvSpPr>
          <p:nvPr>
            <p:ph type="subTitle" idx="1"/>
          </p:nvPr>
        </p:nvSpPr>
        <p:spPr/>
        <p:txBody>
          <a:bodyPr/>
          <a:lstStyle/>
          <a:p>
            <a:endParaRPr lang="da-DK"/>
          </a:p>
        </p:txBody>
      </p:sp>
      <p:sp>
        <p:nvSpPr>
          <p:cNvPr id="2" name="Slide Number Placeholder 1">
            <a:extLst>
              <a:ext uri="{FF2B5EF4-FFF2-40B4-BE49-F238E27FC236}">
                <a16:creationId xmlns:a16="http://schemas.microsoft.com/office/drawing/2014/main" id="{B61B0BEB-68A5-B22D-F0A5-CC09D0FA2002}"/>
              </a:ext>
            </a:extLst>
          </p:cNvPr>
          <p:cNvSpPr txBox="1">
            <a:spLocks/>
          </p:cNvSpPr>
          <p:nvPr/>
        </p:nvSpPr>
        <p:spPr>
          <a:xfrm>
            <a:off x="269875" y="6431279"/>
            <a:ext cx="269875" cy="1800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6BB336-FA68-49FA-BBEA-E8420972406D}" type="slidenum">
              <a:rPr lang="en-GB" sz="800" smtClean="0"/>
              <a:pPr/>
              <a:t>9</a:t>
            </a:fld>
            <a:endParaRPr lang="en-GB" sz="800"/>
          </a:p>
        </p:txBody>
      </p:sp>
    </p:spTree>
    <p:extLst>
      <p:ext uri="{BB962C8B-B14F-4D97-AF65-F5344CB8AC3E}">
        <p14:creationId xmlns:p14="http://schemas.microsoft.com/office/powerpoint/2010/main" val="91905044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24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yearfmt&gt;&lt;begin val=&quot;0&quot;/&gt;&lt;end val=&quot;4&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 name="PPTPRODUCTIVITY_SLIDE_NUMBERS_AUTOUPDATE" val="True"/>
  <p:tag name="PPTPRODUCTIVITY_SLIDE_NUMBERS_SKIP_HIDDEN" val="Tru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3AdaUUhwS4Gtz3fqh8PX_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3AdaUUhwS4Gtz3fqh8PX_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3AdaUUhwS4Gtz3fqh8PX_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3AdaUUhwS4Gtz3fqh8PX_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3AdaUUhwS4Gtz3fqh8PX_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3AdaUUhwS4Gtz3fqh8PX_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3AdaUUhwS4Gtz3fqh8PX_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3AdaUUhwS4Gtz3fqh8PX_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3AdaUUhwS4Gtz3fqh8PX_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3AdaUUhwS4Gtz3fqh8PX_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3AdaUUhwS4Gtz3fqh8PX_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3AdaUUhwS4Gtz3fqh8PX_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3AdaUUhwS4Gtz3fqh8PX_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3AdaUUhwS4Gtz3fqh8PX_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3AdaUUhwS4Gtz3fqh8PX_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3AdaUUhwS4Gtz3fqh8PX_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3AdaUUhwS4Gtz3fqh8PX_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3AdaUUhwS4Gtz3fqh8PX_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3AdaUUhwS4Gtz3fqh8PX_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3AdaUUhwS4Gtz3fqh8PX_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3AdaUUhwS4Gtz3fqh8PX_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3AdaUUhwS4Gtz3fqh8PX_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3AdaUUhwS4Gtz3fqh8PX_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3AdaUUhwS4Gtz3fqh8PX_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FDS 2023">
  <a:themeElements>
    <a:clrScheme name="DFDS 2023">
      <a:dk1>
        <a:srgbClr val="000000"/>
      </a:dk1>
      <a:lt1>
        <a:srgbClr val="FFFFFF"/>
      </a:lt1>
      <a:dk2>
        <a:srgbClr val="002B45"/>
      </a:dk2>
      <a:lt2>
        <a:srgbClr val="EDEBDE"/>
      </a:lt2>
      <a:accent1>
        <a:srgbClr val="002B45"/>
      </a:accent1>
      <a:accent2>
        <a:srgbClr val="2369F5"/>
      </a:accent2>
      <a:accent3>
        <a:srgbClr val="4BAAFF"/>
      </a:accent3>
      <a:accent4>
        <a:srgbClr val="D1EBFF"/>
      </a:accent4>
      <a:accent5>
        <a:srgbClr val="DCD7C0"/>
      </a:accent5>
      <a:accent6>
        <a:srgbClr val="EDEBDE"/>
      </a:accent6>
      <a:hlink>
        <a:srgbClr val="0563C1"/>
      </a:hlink>
      <a:folHlink>
        <a:srgbClr val="954F72"/>
      </a:folHlink>
    </a:clrScheme>
    <a:fontScheme name="DFDS_301123">
      <a:majorFont>
        <a:latin typeface="DFDS Sans Medium"/>
        <a:ea typeface=""/>
        <a:cs typeface=""/>
      </a:majorFont>
      <a:minorFont>
        <a:latin typeface="DFDS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0" tIns="0" rIns="0" bIns="0" rtlCol="0" anchor="ctr"/>
      <a:lstStyle>
        <a:defPPr algn="ctr">
          <a:defRPr sz="16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600" dirty="0" err="1" smtClean="0"/>
        </a:defPPr>
      </a:lstStyle>
    </a:txDef>
  </a:objectDefaults>
  <a:extraClrSchemeLst/>
  <a:custClrLst>
    <a:custClr name="Safety Yellow">
      <a:srgbClr val="EBFF64"/>
    </a:custClr>
    <a:custClr name="Green">
      <a:srgbClr val="067F58"/>
    </a:custClr>
    <a:custClr name="Yellow">
      <a:srgbClr val="FFD73C"/>
    </a:custClr>
    <a:custClr name="Red">
      <a:srgbClr val="FF4135"/>
    </a:custClr>
    <a:custClr name="Purple">
      <a:srgbClr val="5A2846"/>
    </a:custClr>
    <a:custClr name="Orange">
      <a:srgbClr val="FF8719"/>
    </a:custClr>
    <a:custClr name="White">
      <a:srgbClr val="FFFFFF"/>
    </a:custClr>
    <a:custClr name="White">
      <a:srgbClr val="FFFFFF"/>
    </a:custClr>
    <a:custClr name="White">
      <a:srgbClr val="FFFFFF"/>
    </a:custClr>
    <a:custClr name="White">
      <a:srgbClr val="FFFFFF"/>
    </a:custClr>
    <a:custClr name="White">
      <a:srgbClr val="FFFFFF"/>
    </a:custClr>
    <a:custClr name="Light Green">
      <a:srgbClr val="AFE1BB"/>
    </a:custClr>
    <a:custClr name="Light Yellow">
      <a:srgbClr val="FFE691"/>
    </a:custClr>
    <a:custClr name="Light Red">
      <a:srgbClr val="FFD5D9"/>
    </a:custClr>
    <a:custClr name="Light Purple">
      <a:srgbClr val="E1DCFF"/>
    </a:custClr>
    <a:custClr name="Light Orange">
      <a:srgbClr val="FFCD87"/>
    </a:custClr>
    <a:custClr name="White">
      <a:srgbClr val="FFFFFF"/>
    </a:custClr>
    <a:custClr name="White">
      <a:srgbClr val="FFFFFF"/>
    </a:custClr>
    <a:custClr name="White">
      <a:srgbClr val="FFFFFF"/>
    </a:custClr>
    <a:custClr name="White">
      <a:srgbClr val="FFFFFF"/>
    </a:custClr>
    <a:custClr name="Deep Blue">
      <a:srgbClr val="002B45"/>
    </a:custClr>
    <a:custClr name="Deep Blue">
      <a:srgbClr val="002B45"/>
    </a:custClr>
    <a:custClr name="Deep Blue">
      <a:srgbClr val="002B45"/>
    </a:custClr>
    <a:custClr name="Deep Blue">
      <a:srgbClr val="002B45"/>
    </a:custClr>
    <a:custClr name="Deep Blue">
      <a:srgbClr val="002B45"/>
    </a:custClr>
    <a:custClr name="Deep Blue">
      <a:srgbClr val="002B45"/>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Sea Blue">
      <a:srgbClr val="2369F5"/>
    </a:custClr>
    <a:custClr name="Sea Blue">
      <a:srgbClr val="2369F5"/>
    </a:custClr>
    <a:custClr name="Sea Blue">
      <a:srgbClr val="2369F5"/>
    </a:custClr>
    <a:custClr name="Sea Blue">
      <a:srgbClr val="2369F5"/>
    </a:custClr>
    <a:custClr name="Sea Blue">
      <a:srgbClr val="2369F5"/>
    </a:custClr>
    <a:custClr name="Sea Blue">
      <a:srgbClr val="2369F5"/>
    </a:custClr>
    <a:custClr name="White">
      <a:srgbClr val="FFFFFF"/>
    </a:custClr>
    <a:custClr name="White">
      <a:srgbClr val="FFFFFF"/>
    </a:custClr>
    <a:custClr name="White">
      <a:srgbClr val="FFFFFF"/>
    </a:custClr>
    <a:custClr name="White">
      <a:srgbClr val="FFFFFF"/>
    </a:custClr>
  </a:custClrLst>
  <a:extLst>
    <a:ext uri="{05A4C25C-085E-4340-85A3-A5531E510DB2}">
      <thm15:themeFamily xmlns:thm15="http://schemas.microsoft.com/office/thememl/2012/main" name="DFDS_Template_2023" id="{C1B3D64E-FADF-4760-95BC-B6488CF89144}" vid="{CB564718-3F63-43B7-B43C-3E45879683C5}"/>
    </a:ext>
  </a:extLst>
</a:theme>
</file>

<file path=ppt/theme/theme2.xml><?xml version="1.0" encoding="utf-8"?>
<a:theme xmlns:a="http://schemas.openxmlformats.org/drawingml/2006/main" name="Office-tema">
  <a:themeElements>
    <a:clrScheme name="DFDS 2023">
      <a:dk1>
        <a:srgbClr val="000000"/>
      </a:dk1>
      <a:lt1>
        <a:srgbClr val="FFFFFF"/>
      </a:lt1>
      <a:dk2>
        <a:srgbClr val="002B45"/>
      </a:dk2>
      <a:lt2>
        <a:srgbClr val="EDEBDE"/>
      </a:lt2>
      <a:accent1>
        <a:srgbClr val="002B45"/>
      </a:accent1>
      <a:accent2>
        <a:srgbClr val="2369F5"/>
      </a:accent2>
      <a:accent3>
        <a:srgbClr val="4BAAFF"/>
      </a:accent3>
      <a:accent4>
        <a:srgbClr val="D1EBFF"/>
      </a:accent4>
      <a:accent5>
        <a:srgbClr val="DCD7C0"/>
      </a:accent5>
      <a:accent6>
        <a:srgbClr val="EDEBDE"/>
      </a:accent6>
      <a:hlink>
        <a:srgbClr val="0563C1"/>
      </a:hlink>
      <a:folHlink>
        <a:srgbClr val="954F72"/>
      </a:folHlink>
    </a:clrScheme>
    <a:fontScheme name="DFDS 2023">
      <a:majorFont>
        <a:latin typeface="DFDS Sans Medium"/>
        <a:ea typeface=""/>
        <a:cs typeface=""/>
      </a:majorFont>
      <a:minorFont>
        <a:latin typeface="DFDS Sans"/>
        <a:ea typeface=""/>
        <a:cs typeface=""/>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Safety Yellow">
      <a:srgbClr val="EBFF64"/>
    </a:custClr>
  </a:custClr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DFDS 2023">
      <a:dk1>
        <a:srgbClr val="000000"/>
      </a:dk1>
      <a:lt1>
        <a:srgbClr val="FFFFFF"/>
      </a:lt1>
      <a:dk2>
        <a:srgbClr val="002B45"/>
      </a:dk2>
      <a:lt2>
        <a:srgbClr val="EDEBDE"/>
      </a:lt2>
      <a:accent1>
        <a:srgbClr val="002B45"/>
      </a:accent1>
      <a:accent2>
        <a:srgbClr val="2369F5"/>
      </a:accent2>
      <a:accent3>
        <a:srgbClr val="4BAAFF"/>
      </a:accent3>
      <a:accent4>
        <a:srgbClr val="D1EBFF"/>
      </a:accent4>
      <a:accent5>
        <a:srgbClr val="DCD7C0"/>
      </a:accent5>
      <a:accent6>
        <a:srgbClr val="EDEBDE"/>
      </a:accent6>
      <a:hlink>
        <a:srgbClr val="0563C1"/>
      </a:hlink>
      <a:folHlink>
        <a:srgbClr val="954F72"/>
      </a:folHlink>
    </a:clrScheme>
    <a:fontScheme name="DFDS 2023">
      <a:majorFont>
        <a:latin typeface="DFDS Sans Medium"/>
        <a:ea typeface=""/>
        <a:cs typeface=""/>
      </a:majorFont>
      <a:minorFont>
        <a:latin typeface="DFDS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Safety Yellow">
      <a:srgbClr val="EBFF64"/>
    </a:custClr>
  </a:custClr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811</TotalTime>
  <Words>1337</Words>
  <Application>Microsoft Office PowerPoint</Application>
  <PresentationFormat>Widescreen</PresentationFormat>
  <Paragraphs>311</Paragraphs>
  <Slides>26</Slides>
  <Notes>4</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6</vt:i4>
      </vt:variant>
    </vt:vector>
  </HeadingPairs>
  <TitlesOfParts>
    <vt:vector size="34" baseType="lpstr">
      <vt:lpstr>DFDS Sans Offc</vt:lpstr>
      <vt:lpstr>DFDS Sans Medium</vt:lpstr>
      <vt:lpstr>DFDS Bold</vt:lpstr>
      <vt:lpstr>Arial</vt:lpstr>
      <vt:lpstr>DFDS Light</vt:lpstr>
      <vt:lpstr>DFDS Sans</vt:lpstr>
      <vt:lpstr>DFDS 2023</vt:lpstr>
      <vt:lpstr>think-cell Slide</vt:lpstr>
      <vt:lpstr>Unlocking value &amp; earnings recovery</vt:lpstr>
      <vt:lpstr>Q4 &amp; FY 2024 investor call agenda</vt:lpstr>
      <vt:lpstr>PowerPoint Presentation</vt:lpstr>
      <vt:lpstr>Network expanded in financially challenging 2024</vt:lpstr>
      <vt:lpstr>Q4 2024</vt:lpstr>
      <vt:lpstr>5% revenue growth in Q4</vt:lpstr>
      <vt:lpstr>PowerPoint Presentation</vt:lpstr>
      <vt:lpstr>PowerPoint Presentation</vt:lpstr>
      <vt:lpstr>Full-year 2024</vt:lpstr>
      <vt:lpstr>2% organic revenue growth</vt:lpstr>
      <vt:lpstr>PowerPoint Presentation</vt:lpstr>
      <vt:lpstr>PowerPoint Presentation</vt:lpstr>
      <vt:lpstr>Cash flows &amp; capital </vt:lpstr>
      <vt:lpstr>Moving to Green &amp; Great Place to Work</vt:lpstr>
      <vt:lpstr>Solid continued commitment to ESG focus</vt:lpstr>
      <vt:lpstr>2025 focus areas</vt:lpstr>
      <vt:lpstr>PowerPoint Presentation</vt:lpstr>
      <vt:lpstr>PowerPoint Presentation</vt:lpstr>
      <vt:lpstr>PowerPoint Presentation</vt:lpstr>
      <vt:lpstr>PowerPoint Presentation</vt:lpstr>
      <vt:lpstr>PowerPoint Presentation</vt:lpstr>
      <vt:lpstr>Outlook &amp; priorities</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øren Brøndholt Nielsen</dc:creator>
  <cp:lastModifiedBy>Søren Brøndholt Nielsen</cp:lastModifiedBy>
  <cp:revision>68</cp:revision>
  <cp:lastPrinted>2025-02-21T07:38:42Z</cp:lastPrinted>
  <dcterms:created xsi:type="dcterms:W3CDTF">2023-10-27T09:15:32Z</dcterms:created>
  <dcterms:modified xsi:type="dcterms:W3CDTF">2025-02-21T08:01: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by">
    <vt:lpwstr>omnidocs.com</vt:lpwstr>
  </property>
</Properties>
</file>